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5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6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7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10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11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01" r:id="rId5"/>
  </p:sldMasterIdLst>
  <p:notesMasterIdLst>
    <p:notesMasterId r:id="rId18"/>
  </p:notesMasterIdLst>
  <p:handoutMasterIdLst>
    <p:handoutMasterId r:id="rId19"/>
  </p:handoutMasterIdLst>
  <p:sldIdLst>
    <p:sldId id="2146848239" r:id="rId6"/>
    <p:sldId id="2146848228" r:id="rId7"/>
    <p:sldId id="2146848250" r:id="rId8"/>
    <p:sldId id="2146848248" r:id="rId9"/>
    <p:sldId id="2146848249" r:id="rId10"/>
    <p:sldId id="2146848232" r:id="rId11"/>
    <p:sldId id="2146848245" r:id="rId12"/>
    <p:sldId id="2146848247" r:id="rId13"/>
    <p:sldId id="2146848233" r:id="rId14"/>
    <p:sldId id="2146848240" r:id="rId15"/>
    <p:sldId id="2146848234" r:id="rId16"/>
    <p:sldId id="2146848242" r:id="rId17"/>
  </p:sldIdLst>
  <p:sldSz cx="12192000" cy="6858000"/>
  <p:notesSz cx="7104063" cy="10234613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03C"/>
    <a:srgbClr val="FF33CC"/>
    <a:srgbClr val="004556"/>
    <a:srgbClr val="FFC000"/>
    <a:srgbClr val="00B050"/>
    <a:srgbClr val="FF0000"/>
    <a:srgbClr val="A6A6A6"/>
    <a:srgbClr val="D2F5FE"/>
    <a:srgbClr val="0089AC"/>
    <a:srgbClr val="FFC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994" autoAdjust="0"/>
    <p:restoredTop sz="96224" autoAdjust="0"/>
  </p:normalViewPr>
  <p:slideViewPr>
    <p:cSldViewPr snapToGrid="0">
      <p:cViewPr varScale="1">
        <p:scale>
          <a:sx n="114" d="100"/>
          <a:sy n="114" d="100"/>
        </p:scale>
        <p:origin x="528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svg"/><Relationship Id="rId1" Type="http://schemas.openxmlformats.org/officeDocument/2006/relationships/image" Target="../media/image14.png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17.svg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svg"/><Relationship Id="rId1" Type="http://schemas.openxmlformats.org/officeDocument/2006/relationships/image" Target="../media/image20.png"/><Relationship Id="rId4" Type="http://schemas.openxmlformats.org/officeDocument/2006/relationships/image" Target="../media/image23.svg"/></Relationships>
</file>

<file path=ppt/diagrams/_rels/data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26.svg"/><Relationship Id="rId1" Type="http://schemas.openxmlformats.org/officeDocument/2006/relationships/image" Target="../media/image25.png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8.svg"/></Relationships>
</file>

<file path=ppt/diagrams/_rels/data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svg"/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image" Target="../media/image46.svg"/><Relationship Id="rId1" Type="http://schemas.openxmlformats.org/officeDocument/2006/relationships/image" Target="../media/image45.png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48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svg"/><Relationship Id="rId1" Type="http://schemas.openxmlformats.org/officeDocument/2006/relationships/image" Target="../media/image14.png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17.sv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svg"/><Relationship Id="rId1" Type="http://schemas.openxmlformats.org/officeDocument/2006/relationships/image" Target="../media/image20.png"/><Relationship Id="rId4" Type="http://schemas.openxmlformats.org/officeDocument/2006/relationships/image" Target="../media/image23.svg"/></Relationships>
</file>

<file path=ppt/diagrams/_rels/drawing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26.svg"/><Relationship Id="rId1" Type="http://schemas.openxmlformats.org/officeDocument/2006/relationships/image" Target="../media/image25.png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8.svg"/></Relationships>
</file>

<file path=ppt/diagrams/_rels/drawing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svg"/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image" Target="../media/image46.svg"/><Relationship Id="rId1" Type="http://schemas.openxmlformats.org/officeDocument/2006/relationships/image" Target="../media/image45.png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48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6_4">
  <dgm:title val=""/>
  <dgm:desc val=""/>
  <dgm:catLst>
    <dgm:cat type="accent6" pri="11400"/>
  </dgm:catLst>
  <dgm:styleLbl name="node0">
    <dgm:fillClrLst meth="cycle">
      <a:schemeClr val="accent6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6">
        <a:shade val="50000"/>
      </a:schemeClr>
      <a:schemeClr val="accent6">
        <a:tint val="55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/>
    <dgm:txEffectClrLst/>
  </dgm:styleLbl>
  <dgm:styleLbl name="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6">
        <a:shade val="80000"/>
        <a:alpha val="5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55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E631195-C534-4ED2-AD1E-7FE45AAED4E1}" type="doc">
      <dgm:prSet loTypeId="urn:microsoft.com/office/officeart/2018/5/layout/CenteredIconLabelDescription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C617A43B-A282-4BEB-AC1B-1576E7B951C4}">
      <dgm:prSet custT="1"/>
      <dgm:spPr/>
      <dgm:t>
        <a:bodyPr anchor="ctr"/>
        <a:lstStyle/>
        <a:p>
          <a:pPr>
            <a:lnSpc>
              <a:spcPct val="100000"/>
            </a:lnSpc>
            <a:defRPr b="1"/>
          </a:pPr>
          <a:r>
            <a:rPr lang="en-GB" sz="1800" dirty="0">
              <a:solidFill>
                <a:schemeClr val="bg1"/>
              </a:solidFill>
            </a:rPr>
            <a:t>Business </a:t>
          </a:r>
        </a:p>
        <a:p>
          <a:pPr>
            <a:lnSpc>
              <a:spcPct val="100000"/>
            </a:lnSpc>
            <a:defRPr b="1"/>
          </a:pPr>
          <a:r>
            <a:rPr lang="en-GB" sz="1800" dirty="0">
              <a:solidFill>
                <a:schemeClr val="bg1"/>
              </a:solidFill>
            </a:rPr>
            <a:t>Administration </a:t>
          </a:r>
          <a:endParaRPr lang="en-US" sz="1800" dirty="0">
            <a:solidFill>
              <a:schemeClr val="bg1"/>
            </a:solidFill>
          </a:endParaRPr>
        </a:p>
      </dgm:t>
    </dgm:pt>
    <dgm:pt modelId="{48E93102-FCF5-4F3A-A377-4F72E294D21E}" type="parTrans" cxnId="{981EC761-92D0-4893-B22C-5EB933F0B906}">
      <dgm:prSet/>
      <dgm:spPr/>
      <dgm:t>
        <a:bodyPr/>
        <a:lstStyle/>
        <a:p>
          <a:endParaRPr lang="en-US" sz="2400">
            <a:solidFill>
              <a:schemeClr val="bg1"/>
            </a:solidFill>
          </a:endParaRPr>
        </a:p>
      </dgm:t>
    </dgm:pt>
    <dgm:pt modelId="{45CA68DD-8809-41FF-B804-204ADCD4B35E}" type="sibTrans" cxnId="{981EC761-92D0-4893-B22C-5EB933F0B906}">
      <dgm:prSet/>
      <dgm:spPr/>
      <dgm:t>
        <a:bodyPr/>
        <a:lstStyle/>
        <a:p>
          <a:endParaRPr lang="en-US" sz="2400">
            <a:solidFill>
              <a:schemeClr val="bg1"/>
            </a:solidFill>
          </a:endParaRPr>
        </a:p>
      </dgm:t>
    </dgm:pt>
    <dgm:pt modelId="{534FA35F-51F8-48B7-AE74-912EE43A0C0E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GB" sz="1600" dirty="0">
              <a:solidFill>
                <a:schemeClr val="bg1"/>
              </a:solidFill>
            </a:rPr>
            <a:t>Level 3</a:t>
          </a:r>
          <a:endParaRPr lang="en-US" sz="1600" dirty="0">
            <a:solidFill>
              <a:schemeClr val="bg1"/>
            </a:solidFill>
          </a:endParaRPr>
        </a:p>
      </dgm:t>
    </dgm:pt>
    <dgm:pt modelId="{F9964D31-36F7-4E20-AD20-FFF227881CC0}" type="parTrans" cxnId="{7C8C9068-0804-4068-94CC-73F9BDCA003B}">
      <dgm:prSet/>
      <dgm:spPr/>
      <dgm:t>
        <a:bodyPr/>
        <a:lstStyle/>
        <a:p>
          <a:endParaRPr lang="en-US" sz="2400">
            <a:solidFill>
              <a:schemeClr val="bg1"/>
            </a:solidFill>
          </a:endParaRPr>
        </a:p>
      </dgm:t>
    </dgm:pt>
    <dgm:pt modelId="{23548BE6-4F1A-468D-90CE-41E34C71FFDC}" type="sibTrans" cxnId="{7C8C9068-0804-4068-94CC-73F9BDCA003B}">
      <dgm:prSet/>
      <dgm:spPr/>
      <dgm:t>
        <a:bodyPr/>
        <a:lstStyle/>
        <a:p>
          <a:endParaRPr lang="en-US" sz="2400">
            <a:solidFill>
              <a:schemeClr val="bg1"/>
            </a:solidFill>
          </a:endParaRPr>
        </a:p>
      </dgm:t>
    </dgm:pt>
    <dgm:pt modelId="{2280AC92-E9F3-4A4C-A503-FCB1AA51A013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GB" sz="1600" dirty="0">
              <a:solidFill>
                <a:schemeClr val="bg1"/>
              </a:solidFill>
            </a:rPr>
            <a:t>2 Years</a:t>
          </a:r>
          <a:endParaRPr lang="en-US" sz="1600" dirty="0">
            <a:solidFill>
              <a:schemeClr val="bg1"/>
            </a:solidFill>
          </a:endParaRPr>
        </a:p>
      </dgm:t>
    </dgm:pt>
    <dgm:pt modelId="{287D80BF-2642-4600-A726-E2A608FCD393}" type="parTrans" cxnId="{2C87479A-AA2B-4D05-BB86-C990F70DF2C3}">
      <dgm:prSet/>
      <dgm:spPr/>
      <dgm:t>
        <a:bodyPr/>
        <a:lstStyle/>
        <a:p>
          <a:endParaRPr lang="en-US" sz="2400">
            <a:solidFill>
              <a:schemeClr val="bg1"/>
            </a:solidFill>
          </a:endParaRPr>
        </a:p>
      </dgm:t>
    </dgm:pt>
    <dgm:pt modelId="{19D253AB-1655-4D05-94E8-F58E96AE465B}" type="sibTrans" cxnId="{2C87479A-AA2B-4D05-BB86-C990F70DF2C3}">
      <dgm:prSet/>
      <dgm:spPr/>
      <dgm:t>
        <a:bodyPr/>
        <a:lstStyle/>
        <a:p>
          <a:endParaRPr lang="en-US" sz="2400">
            <a:solidFill>
              <a:schemeClr val="bg1"/>
            </a:solidFill>
          </a:endParaRPr>
        </a:p>
      </dgm:t>
    </dgm:pt>
    <dgm:pt modelId="{1AF3EBDB-EEA2-481B-927E-E83EE5C04B6B}">
      <dgm:prSet custT="1"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GB" sz="1800" i="0" dirty="0">
              <a:solidFill>
                <a:schemeClr val="bg1"/>
              </a:solidFill>
            </a:rPr>
            <a:t>Craft</a:t>
          </a:r>
          <a:br>
            <a:rPr lang="en-GB" sz="1800" i="1" dirty="0">
              <a:solidFill>
                <a:schemeClr val="bg1"/>
              </a:solidFill>
            </a:rPr>
          </a:br>
          <a:r>
            <a:rPr lang="en-GB" sz="1200" i="1" dirty="0">
              <a:solidFill>
                <a:schemeClr val="bg1"/>
              </a:solidFill>
            </a:rPr>
            <a:t>(including Fabricator, Machinist, Maintenance (Electrical &amp; Mechanical), Welding)</a:t>
          </a:r>
          <a:endParaRPr lang="en-US" sz="1800" i="1" dirty="0">
            <a:solidFill>
              <a:schemeClr val="bg1"/>
            </a:solidFill>
          </a:endParaRPr>
        </a:p>
      </dgm:t>
    </dgm:pt>
    <dgm:pt modelId="{0A8FD343-4014-4966-A5E9-9A8A222D16F2}" type="parTrans" cxnId="{68A4C5B9-0CC8-4990-AB44-E169061F17AB}">
      <dgm:prSet/>
      <dgm:spPr/>
      <dgm:t>
        <a:bodyPr/>
        <a:lstStyle/>
        <a:p>
          <a:endParaRPr lang="en-US" sz="2400">
            <a:solidFill>
              <a:schemeClr val="bg1"/>
            </a:solidFill>
          </a:endParaRPr>
        </a:p>
      </dgm:t>
    </dgm:pt>
    <dgm:pt modelId="{8DCED292-C87B-4FC9-A2DE-6B5D169ABFB9}" type="sibTrans" cxnId="{68A4C5B9-0CC8-4990-AB44-E169061F17AB}">
      <dgm:prSet/>
      <dgm:spPr/>
      <dgm:t>
        <a:bodyPr/>
        <a:lstStyle/>
        <a:p>
          <a:endParaRPr lang="en-US" sz="2400">
            <a:solidFill>
              <a:schemeClr val="bg1"/>
            </a:solidFill>
          </a:endParaRPr>
        </a:p>
      </dgm:t>
    </dgm:pt>
    <dgm:pt modelId="{E340908C-3522-41CA-A71B-F2FFBD448320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GB" sz="1600">
              <a:solidFill>
                <a:schemeClr val="bg1"/>
              </a:solidFill>
            </a:rPr>
            <a:t>Level 3</a:t>
          </a:r>
          <a:endParaRPr lang="en-US" sz="1600">
            <a:solidFill>
              <a:schemeClr val="bg1"/>
            </a:solidFill>
          </a:endParaRPr>
        </a:p>
      </dgm:t>
    </dgm:pt>
    <dgm:pt modelId="{FC3D519D-FCEA-47B0-AA63-F49F92A6FF28}" type="parTrans" cxnId="{8FB1A212-044F-4B61-B8D0-0D2F7717736C}">
      <dgm:prSet/>
      <dgm:spPr/>
      <dgm:t>
        <a:bodyPr/>
        <a:lstStyle/>
        <a:p>
          <a:endParaRPr lang="en-US" sz="2400">
            <a:solidFill>
              <a:schemeClr val="bg1"/>
            </a:solidFill>
          </a:endParaRPr>
        </a:p>
      </dgm:t>
    </dgm:pt>
    <dgm:pt modelId="{F919453D-7143-4694-A352-43992FD88C96}" type="sibTrans" cxnId="{8FB1A212-044F-4B61-B8D0-0D2F7717736C}">
      <dgm:prSet/>
      <dgm:spPr/>
      <dgm:t>
        <a:bodyPr/>
        <a:lstStyle/>
        <a:p>
          <a:endParaRPr lang="en-US" sz="2400">
            <a:solidFill>
              <a:schemeClr val="bg1"/>
            </a:solidFill>
          </a:endParaRPr>
        </a:p>
      </dgm:t>
    </dgm:pt>
    <dgm:pt modelId="{AC072C5A-5F11-41C5-B12B-7B95FD1D3F0E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GB" sz="1600" dirty="0">
              <a:solidFill>
                <a:schemeClr val="bg1"/>
              </a:solidFill>
            </a:rPr>
            <a:t>4 Years</a:t>
          </a:r>
          <a:endParaRPr lang="en-US" sz="1600" dirty="0">
            <a:solidFill>
              <a:schemeClr val="bg1"/>
            </a:solidFill>
          </a:endParaRPr>
        </a:p>
      </dgm:t>
    </dgm:pt>
    <dgm:pt modelId="{DD5B9A5E-27A2-4FFD-BBC2-1CC47A0D42C1}" type="parTrans" cxnId="{D830D7DF-3F2A-49DF-9963-7E0283543F40}">
      <dgm:prSet/>
      <dgm:spPr/>
      <dgm:t>
        <a:bodyPr/>
        <a:lstStyle/>
        <a:p>
          <a:endParaRPr lang="en-US" sz="2400">
            <a:solidFill>
              <a:schemeClr val="bg1"/>
            </a:solidFill>
          </a:endParaRPr>
        </a:p>
      </dgm:t>
    </dgm:pt>
    <dgm:pt modelId="{DF043330-488A-4CC4-A5DF-BD0A4376FAF3}" type="sibTrans" cxnId="{D830D7DF-3F2A-49DF-9963-7E0283543F40}">
      <dgm:prSet/>
      <dgm:spPr/>
      <dgm:t>
        <a:bodyPr/>
        <a:lstStyle/>
        <a:p>
          <a:endParaRPr lang="en-US" sz="2400">
            <a:solidFill>
              <a:schemeClr val="bg1"/>
            </a:solidFill>
          </a:endParaRPr>
        </a:p>
      </dgm:t>
    </dgm:pt>
    <dgm:pt modelId="{44D4443B-C473-4A9E-B9DE-767D92E83D4C}">
      <dgm:prSet custT="1"/>
      <dgm:spPr/>
      <dgm:t>
        <a:bodyPr anchor="ctr"/>
        <a:lstStyle/>
        <a:p>
          <a:pPr>
            <a:lnSpc>
              <a:spcPct val="100000"/>
            </a:lnSpc>
            <a:defRPr b="1"/>
          </a:pPr>
          <a:r>
            <a:rPr lang="en-GB" sz="1800" dirty="0">
              <a:solidFill>
                <a:schemeClr val="bg1"/>
              </a:solidFill>
            </a:rPr>
            <a:t>Nuclear Welding Inspection Technician</a:t>
          </a:r>
          <a:endParaRPr lang="en-US" sz="1800" dirty="0">
            <a:solidFill>
              <a:schemeClr val="bg1"/>
            </a:solidFill>
          </a:endParaRPr>
        </a:p>
      </dgm:t>
    </dgm:pt>
    <dgm:pt modelId="{EE690524-5A07-4BF2-957B-96CFF451AADE}" type="parTrans" cxnId="{33B3724E-B1D2-4F00-A47D-694A9A465D3F}">
      <dgm:prSet/>
      <dgm:spPr/>
      <dgm:t>
        <a:bodyPr/>
        <a:lstStyle/>
        <a:p>
          <a:endParaRPr lang="en-GB"/>
        </a:p>
      </dgm:t>
    </dgm:pt>
    <dgm:pt modelId="{159F4555-4F1B-4058-8E67-609DDD6870EE}" type="sibTrans" cxnId="{33B3724E-B1D2-4F00-A47D-694A9A465D3F}">
      <dgm:prSet/>
      <dgm:spPr/>
      <dgm:t>
        <a:bodyPr/>
        <a:lstStyle/>
        <a:p>
          <a:endParaRPr lang="en-GB"/>
        </a:p>
      </dgm:t>
    </dgm:pt>
    <dgm:pt modelId="{91AADB67-2BAE-4E78-A91D-92F6D40ED1A8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dirty="0">
              <a:solidFill>
                <a:schemeClr val="bg1"/>
              </a:solidFill>
            </a:rPr>
            <a:t>Level 4</a:t>
          </a:r>
          <a:endParaRPr lang="en-US" dirty="0">
            <a:solidFill>
              <a:schemeClr val="bg1"/>
            </a:solidFill>
          </a:endParaRPr>
        </a:p>
      </dgm:t>
    </dgm:pt>
    <dgm:pt modelId="{E4403B3A-146B-4D32-BA18-CC784E12B417}" type="parTrans" cxnId="{0D93DB90-4B2A-4E2D-B229-30683D26BFDE}">
      <dgm:prSet/>
      <dgm:spPr/>
      <dgm:t>
        <a:bodyPr/>
        <a:lstStyle/>
        <a:p>
          <a:endParaRPr lang="en-GB"/>
        </a:p>
      </dgm:t>
    </dgm:pt>
    <dgm:pt modelId="{E9F8C4BD-C8E1-46A0-98F4-EF80C32DC0CD}" type="sibTrans" cxnId="{0D93DB90-4B2A-4E2D-B229-30683D26BFDE}">
      <dgm:prSet/>
      <dgm:spPr/>
      <dgm:t>
        <a:bodyPr/>
        <a:lstStyle/>
        <a:p>
          <a:endParaRPr lang="en-GB"/>
        </a:p>
      </dgm:t>
    </dgm:pt>
    <dgm:pt modelId="{BECC55BA-5EBE-413C-8DBA-5D02BFB5130E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dirty="0">
              <a:solidFill>
                <a:schemeClr val="bg1"/>
              </a:solidFill>
            </a:rPr>
            <a:t>4 Years</a:t>
          </a:r>
          <a:endParaRPr lang="en-US" dirty="0">
            <a:solidFill>
              <a:schemeClr val="bg1"/>
            </a:solidFill>
          </a:endParaRPr>
        </a:p>
      </dgm:t>
    </dgm:pt>
    <dgm:pt modelId="{564A296B-F1CC-483A-92C0-EA3C99E694C2}" type="parTrans" cxnId="{64F7B0FF-048F-4ADB-A3C1-E03265113287}">
      <dgm:prSet/>
      <dgm:spPr/>
      <dgm:t>
        <a:bodyPr/>
        <a:lstStyle/>
        <a:p>
          <a:endParaRPr lang="en-GB"/>
        </a:p>
      </dgm:t>
    </dgm:pt>
    <dgm:pt modelId="{99BF884F-FADE-4F4A-BD04-F64BDB5A2113}" type="sibTrans" cxnId="{64F7B0FF-048F-4ADB-A3C1-E03265113287}">
      <dgm:prSet/>
      <dgm:spPr/>
      <dgm:t>
        <a:bodyPr/>
        <a:lstStyle/>
        <a:p>
          <a:endParaRPr lang="en-GB"/>
        </a:p>
      </dgm:t>
    </dgm:pt>
    <dgm:pt modelId="{386C1653-DAE7-446E-AA17-738183E83975}" type="pres">
      <dgm:prSet presAssocID="{4E631195-C534-4ED2-AD1E-7FE45AAED4E1}" presName="root" presStyleCnt="0">
        <dgm:presLayoutVars>
          <dgm:dir/>
          <dgm:resizeHandles val="exact"/>
        </dgm:presLayoutVars>
      </dgm:prSet>
      <dgm:spPr/>
    </dgm:pt>
    <dgm:pt modelId="{909FEF8B-2DC0-42B7-990D-27BC0B6A06BA}" type="pres">
      <dgm:prSet presAssocID="{C617A43B-A282-4BEB-AC1B-1576E7B951C4}" presName="compNode" presStyleCnt="0"/>
      <dgm:spPr/>
    </dgm:pt>
    <dgm:pt modelId="{EB8A38E0-435C-45F6-8E47-6957C5E111B6}" type="pres">
      <dgm:prSet presAssocID="{C617A43B-A282-4BEB-AC1B-1576E7B951C4}" presName="iconRect" presStyleLbl="node1" presStyleIdx="0" presStyleCnt="3" custScaleX="129124" custScaleY="108441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Laptop with solid fill"/>
        </a:ext>
      </dgm:extLst>
    </dgm:pt>
    <dgm:pt modelId="{0CFD4B54-915C-4AEA-8AC8-1B4DFCB263FF}" type="pres">
      <dgm:prSet presAssocID="{C617A43B-A282-4BEB-AC1B-1576E7B951C4}" presName="iconSpace" presStyleCnt="0"/>
      <dgm:spPr/>
    </dgm:pt>
    <dgm:pt modelId="{6DADC7B3-B754-466D-B66E-E8CF7CC711A1}" type="pres">
      <dgm:prSet presAssocID="{C617A43B-A282-4BEB-AC1B-1576E7B951C4}" presName="parTx" presStyleLbl="revTx" presStyleIdx="0" presStyleCnt="6">
        <dgm:presLayoutVars>
          <dgm:chMax val="0"/>
          <dgm:chPref val="0"/>
        </dgm:presLayoutVars>
      </dgm:prSet>
      <dgm:spPr/>
    </dgm:pt>
    <dgm:pt modelId="{46ADACFD-FDC4-449B-B643-EECEDE10AF64}" type="pres">
      <dgm:prSet presAssocID="{C617A43B-A282-4BEB-AC1B-1576E7B951C4}" presName="txSpace" presStyleCnt="0"/>
      <dgm:spPr/>
    </dgm:pt>
    <dgm:pt modelId="{0396221B-149F-475B-9CF0-47DD7BC1F7C8}" type="pres">
      <dgm:prSet presAssocID="{C617A43B-A282-4BEB-AC1B-1576E7B951C4}" presName="desTx" presStyleLbl="revTx" presStyleIdx="1" presStyleCnt="6">
        <dgm:presLayoutVars/>
      </dgm:prSet>
      <dgm:spPr/>
    </dgm:pt>
    <dgm:pt modelId="{EA62DA78-108A-4556-9EB0-E1D430489779}" type="pres">
      <dgm:prSet presAssocID="{45CA68DD-8809-41FF-B804-204ADCD4B35E}" presName="sibTrans" presStyleCnt="0"/>
      <dgm:spPr/>
    </dgm:pt>
    <dgm:pt modelId="{ACD58B4C-F881-4FB0-9D98-98F1791CD957}" type="pres">
      <dgm:prSet presAssocID="{1AF3EBDB-EEA2-481B-927E-E83EE5C04B6B}" presName="compNode" presStyleCnt="0"/>
      <dgm:spPr/>
    </dgm:pt>
    <dgm:pt modelId="{FA06419D-537D-4E22-BBAF-D8DC22023549}" type="pres">
      <dgm:prSet presAssocID="{1AF3EBDB-EEA2-481B-927E-E83EE5C04B6B}" presName="iconRect" presStyleLbl="node1" presStyleIdx="1" presStyleCnt="3" custScaleX="129233"/>
      <dgm:spPr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Gears with solid fill"/>
        </a:ext>
      </dgm:extLst>
    </dgm:pt>
    <dgm:pt modelId="{EB4A181A-E1B7-42E7-A52D-501FDCE8B5F1}" type="pres">
      <dgm:prSet presAssocID="{1AF3EBDB-EEA2-481B-927E-E83EE5C04B6B}" presName="iconSpace" presStyleCnt="0"/>
      <dgm:spPr/>
    </dgm:pt>
    <dgm:pt modelId="{99037C8D-5C66-4D5F-B800-77557D2FCC8A}" type="pres">
      <dgm:prSet presAssocID="{1AF3EBDB-EEA2-481B-927E-E83EE5C04B6B}" presName="parTx" presStyleLbl="revTx" presStyleIdx="2" presStyleCnt="6" custScaleX="127284">
        <dgm:presLayoutVars>
          <dgm:chMax val="0"/>
          <dgm:chPref val="0"/>
        </dgm:presLayoutVars>
      </dgm:prSet>
      <dgm:spPr/>
    </dgm:pt>
    <dgm:pt modelId="{CB149952-816D-4BF1-A524-C7AAE09EEE3F}" type="pres">
      <dgm:prSet presAssocID="{1AF3EBDB-EEA2-481B-927E-E83EE5C04B6B}" presName="txSpace" presStyleCnt="0"/>
      <dgm:spPr/>
    </dgm:pt>
    <dgm:pt modelId="{84FBC90C-4BA3-431E-AF40-75C144AC7384}" type="pres">
      <dgm:prSet presAssocID="{1AF3EBDB-EEA2-481B-927E-E83EE5C04B6B}" presName="desTx" presStyleLbl="revTx" presStyleIdx="3" presStyleCnt="6">
        <dgm:presLayoutVars/>
      </dgm:prSet>
      <dgm:spPr/>
    </dgm:pt>
    <dgm:pt modelId="{744BCCDB-5C2E-450A-AFE0-870EF68629B6}" type="pres">
      <dgm:prSet presAssocID="{8DCED292-C87B-4FC9-A2DE-6B5D169ABFB9}" presName="sibTrans" presStyleCnt="0"/>
      <dgm:spPr/>
    </dgm:pt>
    <dgm:pt modelId="{CC6A3841-85A9-417F-8CAE-E2E30765C007}" type="pres">
      <dgm:prSet presAssocID="{44D4443B-C473-4A9E-B9DE-767D92E83D4C}" presName="compNode" presStyleCnt="0"/>
      <dgm:spPr/>
    </dgm:pt>
    <dgm:pt modelId="{0FAB1363-6388-42E5-B541-8A6262AAE95C}" type="pres">
      <dgm:prSet presAssocID="{44D4443B-C473-4A9E-B9DE-767D92E83D4C}" presName="iconRect" presStyleLbl="node1" presStyleIdx="2" presStyleCnt="3" custScaleX="12923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Atom outline"/>
        </a:ext>
      </dgm:extLst>
    </dgm:pt>
    <dgm:pt modelId="{ED906D6C-5264-4A99-A8BE-CAF1F76968C8}" type="pres">
      <dgm:prSet presAssocID="{44D4443B-C473-4A9E-B9DE-767D92E83D4C}" presName="iconSpace" presStyleCnt="0"/>
      <dgm:spPr/>
    </dgm:pt>
    <dgm:pt modelId="{B8A7BB79-979E-4333-961B-4E9D508A0E49}" type="pres">
      <dgm:prSet presAssocID="{44D4443B-C473-4A9E-B9DE-767D92E83D4C}" presName="parTx" presStyleLbl="revTx" presStyleIdx="4" presStyleCnt="6">
        <dgm:presLayoutVars>
          <dgm:chMax val="0"/>
          <dgm:chPref val="0"/>
        </dgm:presLayoutVars>
      </dgm:prSet>
      <dgm:spPr/>
    </dgm:pt>
    <dgm:pt modelId="{7F8FA1BC-1300-49FB-8CE8-49383AD08553}" type="pres">
      <dgm:prSet presAssocID="{44D4443B-C473-4A9E-B9DE-767D92E83D4C}" presName="txSpace" presStyleCnt="0"/>
      <dgm:spPr/>
    </dgm:pt>
    <dgm:pt modelId="{E14BC8B3-D050-45C0-93EA-731B8521D4CF}" type="pres">
      <dgm:prSet presAssocID="{44D4443B-C473-4A9E-B9DE-767D92E83D4C}" presName="desTx" presStyleLbl="revTx" presStyleIdx="5" presStyleCnt="6">
        <dgm:presLayoutVars/>
      </dgm:prSet>
      <dgm:spPr/>
    </dgm:pt>
  </dgm:ptLst>
  <dgm:cxnLst>
    <dgm:cxn modelId="{8FB1A212-044F-4B61-B8D0-0D2F7717736C}" srcId="{1AF3EBDB-EEA2-481B-927E-E83EE5C04B6B}" destId="{E340908C-3522-41CA-A71B-F2FFBD448320}" srcOrd="0" destOrd="0" parTransId="{FC3D519D-FCEA-47B0-AA63-F49F92A6FF28}" sibTransId="{F919453D-7143-4694-A352-43992FD88C96}"/>
    <dgm:cxn modelId="{D3AF7220-8EB3-47BF-B782-1051DC3B1763}" type="presOf" srcId="{44D4443B-C473-4A9E-B9DE-767D92E83D4C}" destId="{B8A7BB79-979E-4333-961B-4E9D508A0E49}" srcOrd="0" destOrd="0" presId="urn:microsoft.com/office/officeart/2018/5/layout/CenteredIconLabelDescriptionList"/>
    <dgm:cxn modelId="{5CC4CF26-DE5F-42CF-B191-9288BA4BBF3E}" type="presOf" srcId="{E340908C-3522-41CA-A71B-F2FFBD448320}" destId="{84FBC90C-4BA3-431E-AF40-75C144AC7384}" srcOrd="0" destOrd="0" presId="urn:microsoft.com/office/officeart/2018/5/layout/CenteredIconLabelDescriptionList"/>
    <dgm:cxn modelId="{405E0E28-0D49-4ADF-9BC5-93D8392B5F1B}" type="presOf" srcId="{534FA35F-51F8-48B7-AE74-912EE43A0C0E}" destId="{0396221B-149F-475B-9CF0-47DD7BC1F7C8}" srcOrd="0" destOrd="0" presId="urn:microsoft.com/office/officeart/2018/5/layout/CenteredIconLabelDescriptionList"/>
    <dgm:cxn modelId="{981EC761-92D0-4893-B22C-5EB933F0B906}" srcId="{4E631195-C534-4ED2-AD1E-7FE45AAED4E1}" destId="{C617A43B-A282-4BEB-AC1B-1576E7B951C4}" srcOrd="0" destOrd="0" parTransId="{48E93102-FCF5-4F3A-A377-4F72E294D21E}" sibTransId="{45CA68DD-8809-41FF-B804-204ADCD4B35E}"/>
    <dgm:cxn modelId="{7C8C9068-0804-4068-94CC-73F9BDCA003B}" srcId="{C617A43B-A282-4BEB-AC1B-1576E7B951C4}" destId="{534FA35F-51F8-48B7-AE74-912EE43A0C0E}" srcOrd="0" destOrd="0" parTransId="{F9964D31-36F7-4E20-AD20-FFF227881CC0}" sibTransId="{23548BE6-4F1A-468D-90CE-41E34C71FFDC}"/>
    <dgm:cxn modelId="{33B3724E-B1D2-4F00-A47D-694A9A465D3F}" srcId="{4E631195-C534-4ED2-AD1E-7FE45AAED4E1}" destId="{44D4443B-C473-4A9E-B9DE-767D92E83D4C}" srcOrd="2" destOrd="0" parTransId="{EE690524-5A07-4BF2-957B-96CFF451AADE}" sibTransId="{159F4555-4F1B-4058-8E67-609DDD6870EE}"/>
    <dgm:cxn modelId="{14723381-91C1-43D0-98CE-CF9D6708F849}" type="presOf" srcId="{4E631195-C534-4ED2-AD1E-7FE45AAED4E1}" destId="{386C1653-DAE7-446E-AA17-738183E83975}" srcOrd="0" destOrd="0" presId="urn:microsoft.com/office/officeart/2018/5/layout/CenteredIconLabelDescriptionList"/>
    <dgm:cxn modelId="{0D93DB90-4B2A-4E2D-B229-30683D26BFDE}" srcId="{44D4443B-C473-4A9E-B9DE-767D92E83D4C}" destId="{91AADB67-2BAE-4E78-A91D-92F6D40ED1A8}" srcOrd="0" destOrd="0" parTransId="{E4403B3A-146B-4D32-BA18-CC784E12B417}" sibTransId="{E9F8C4BD-C8E1-46A0-98F4-EF80C32DC0CD}"/>
    <dgm:cxn modelId="{7D059B93-62BF-4434-BA35-BE0E4ACCA2F1}" type="presOf" srcId="{BECC55BA-5EBE-413C-8DBA-5D02BFB5130E}" destId="{E14BC8B3-D050-45C0-93EA-731B8521D4CF}" srcOrd="0" destOrd="1" presId="urn:microsoft.com/office/officeart/2018/5/layout/CenteredIconLabelDescriptionList"/>
    <dgm:cxn modelId="{7EBE9595-494C-41AF-8033-280F1F17C4E5}" type="presOf" srcId="{2280AC92-E9F3-4A4C-A503-FCB1AA51A013}" destId="{0396221B-149F-475B-9CF0-47DD7BC1F7C8}" srcOrd="0" destOrd="1" presId="urn:microsoft.com/office/officeart/2018/5/layout/CenteredIconLabelDescriptionList"/>
    <dgm:cxn modelId="{2C87479A-AA2B-4D05-BB86-C990F70DF2C3}" srcId="{C617A43B-A282-4BEB-AC1B-1576E7B951C4}" destId="{2280AC92-E9F3-4A4C-A503-FCB1AA51A013}" srcOrd="1" destOrd="0" parTransId="{287D80BF-2642-4600-A726-E2A608FCD393}" sibTransId="{19D253AB-1655-4D05-94E8-F58E96AE465B}"/>
    <dgm:cxn modelId="{563F2BA1-4639-44CC-8414-EC9EC6442B36}" type="presOf" srcId="{AC072C5A-5F11-41C5-B12B-7B95FD1D3F0E}" destId="{84FBC90C-4BA3-431E-AF40-75C144AC7384}" srcOrd="0" destOrd="1" presId="urn:microsoft.com/office/officeart/2018/5/layout/CenteredIconLabelDescriptionList"/>
    <dgm:cxn modelId="{DD5ACFB3-78DA-4608-A4F6-63171CD6165E}" type="presOf" srcId="{91AADB67-2BAE-4E78-A91D-92F6D40ED1A8}" destId="{E14BC8B3-D050-45C0-93EA-731B8521D4CF}" srcOrd="0" destOrd="0" presId="urn:microsoft.com/office/officeart/2018/5/layout/CenteredIconLabelDescriptionList"/>
    <dgm:cxn modelId="{68A4C5B9-0CC8-4990-AB44-E169061F17AB}" srcId="{4E631195-C534-4ED2-AD1E-7FE45AAED4E1}" destId="{1AF3EBDB-EEA2-481B-927E-E83EE5C04B6B}" srcOrd="1" destOrd="0" parTransId="{0A8FD343-4014-4966-A5E9-9A8A222D16F2}" sibTransId="{8DCED292-C87B-4FC9-A2DE-6B5D169ABFB9}"/>
    <dgm:cxn modelId="{47FE8EC7-D5E2-460C-9B0C-88D445F4757C}" type="presOf" srcId="{1AF3EBDB-EEA2-481B-927E-E83EE5C04B6B}" destId="{99037C8D-5C66-4D5F-B800-77557D2FCC8A}" srcOrd="0" destOrd="0" presId="urn:microsoft.com/office/officeart/2018/5/layout/CenteredIconLabelDescriptionList"/>
    <dgm:cxn modelId="{C8AE69D3-9F77-407F-88C6-4529118A54E7}" type="presOf" srcId="{C617A43B-A282-4BEB-AC1B-1576E7B951C4}" destId="{6DADC7B3-B754-466D-B66E-E8CF7CC711A1}" srcOrd="0" destOrd="0" presId="urn:microsoft.com/office/officeart/2018/5/layout/CenteredIconLabelDescriptionList"/>
    <dgm:cxn modelId="{D830D7DF-3F2A-49DF-9963-7E0283543F40}" srcId="{1AF3EBDB-EEA2-481B-927E-E83EE5C04B6B}" destId="{AC072C5A-5F11-41C5-B12B-7B95FD1D3F0E}" srcOrd="1" destOrd="0" parTransId="{DD5B9A5E-27A2-4FFD-BBC2-1CC47A0D42C1}" sibTransId="{DF043330-488A-4CC4-A5DF-BD0A4376FAF3}"/>
    <dgm:cxn modelId="{64F7B0FF-048F-4ADB-A3C1-E03265113287}" srcId="{44D4443B-C473-4A9E-B9DE-767D92E83D4C}" destId="{BECC55BA-5EBE-413C-8DBA-5D02BFB5130E}" srcOrd="1" destOrd="0" parTransId="{564A296B-F1CC-483A-92C0-EA3C99E694C2}" sibTransId="{99BF884F-FADE-4F4A-BD04-F64BDB5A2113}"/>
    <dgm:cxn modelId="{9F821BDE-4DBA-4BA3-B652-02DFBCD3A1A3}" type="presParOf" srcId="{386C1653-DAE7-446E-AA17-738183E83975}" destId="{909FEF8B-2DC0-42B7-990D-27BC0B6A06BA}" srcOrd="0" destOrd="0" presId="urn:microsoft.com/office/officeart/2018/5/layout/CenteredIconLabelDescriptionList"/>
    <dgm:cxn modelId="{378127D6-F008-4226-88BD-47FDD58F572E}" type="presParOf" srcId="{909FEF8B-2DC0-42B7-990D-27BC0B6A06BA}" destId="{EB8A38E0-435C-45F6-8E47-6957C5E111B6}" srcOrd="0" destOrd="0" presId="urn:microsoft.com/office/officeart/2018/5/layout/CenteredIconLabelDescriptionList"/>
    <dgm:cxn modelId="{B23CB3F5-5342-4032-BC3A-AC0D90BEB7FA}" type="presParOf" srcId="{909FEF8B-2DC0-42B7-990D-27BC0B6A06BA}" destId="{0CFD4B54-915C-4AEA-8AC8-1B4DFCB263FF}" srcOrd="1" destOrd="0" presId="urn:microsoft.com/office/officeart/2018/5/layout/CenteredIconLabelDescriptionList"/>
    <dgm:cxn modelId="{DB3C1804-3487-4A31-8075-0E5762F9AC8C}" type="presParOf" srcId="{909FEF8B-2DC0-42B7-990D-27BC0B6A06BA}" destId="{6DADC7B3-B754-466D-B66E-E8CF7CC711A1}" srcOrd="2" destOrd="0" presId="urn:microsoft.com/office/officeart/2018/5/layout/CenteredIconLabelDescriptionList"/>
    <dgm:cxn modelId="{268D042C-FC99-46D1-BAA6-318A2A77E52B}" type="presParOf" srcId="{909FEF8B-2DC0-42B7-990D-27BC0B6A06BA}" destId="{46ADACFD-FDC4-449B-B643-EECEDE10AF64}" srcOrd="3" destOrd="0" presId="urn:microsoft.com/office/officeart/2018/5/layout/CenteredIconLabelDescriptionList"/>
    <dgm:cxn modelId="{E29FD93F-249E-4F7F-8861-1B1A14883868}" type="presParOf" srcId="{909FEF8B-2DC0-42B7-990D-27BC0B6A06BA}" destId="{0396221B-149F-475B-9CF0-47DD7BC1F7C8}" srcOrd="4" destOrd="0" presId="urn:microsoft.com/office/officeart/2018/5/layout/CenteredIconLabelDescriptionList"/>
    <dgm:cxn modelId="{EE64D6CA-04CE-48AE-B8BE-9F37EAC776D6}" type="presParOf" srcId="{386C1653-DAE7-446E-AA17-738183E83975}" destId="{EA62DA78-108A-4556-9EB0-E1D430489779}" srcOrd="1" destOrd="0" presId="urn:microsoft.com/office/officeart/2018/5/layout/CenteredIconLabelDescriptionList"/>
    <dgm:cxn modelId="{5F0275D2-C203-4680-9731-6032027835FB}" type="presParOf" srcId="{386C1653-DAE7-446E-AA17-738183E83975}" destId="{ACD58B4C-F881-4FB0-9D98-98F1791CD957}" srcOrd="2" destOrd="0" presId="urn:microsoft.com/office/officeart/2018/5/layout/CenteredIconLabelDescriptionList"/>
    <dgm:cxn modelId="{5FCFBBC2-EC34-488E-AEB4-DB90A7C6C01E}" type="presParOf" srcId="{ACD58B4C-F881-4FB0-9D98-98F1791CD957}" destId="{FA06419D-537D-4E22-BBAF-D8DC22023549}" srcOrd="0" destOrd="0" presId="urn:microsoft.com/office/officeart/2018/5/layout/CenteredIconLabelDescriptionList"/>
    <dgm:cxn modelId="{992B2CBF-7F7D-4E11-BCFA-DF2497B3943D}" type="presParOf" srcId="{ACD58B4C-F881-4FB0-9D98-98F1791CD957}" destId="{EB4A181A-E1B7-42E7-A52D-501FDCE8B5F1}" srcOrd="1" destOrd="0" presId="urn:microsoft.com/office/officeart/2018/5/layout/CenteredIconLabelDescriptionList"/>
    <dgm:cxn modelId="{2421C04D-E5B4-4195-9432-A0844BE67B58}" type="presParOf" srcId="{ACD58B4C-F881-4FB0-9D98-98F1791CD957}" destId="{99037C8D-5C66-4D5F-B800-77557D2FCC8A}" srcOrd="2" destOrd="0" presId="urn:microsoft.com/office/officeart/2018/5/layout/CenteredIconLabelDescriptionList"/>
    <dgm:cxn modelId="{991D564B-1577-4EB1-BE63-F67A35BE227F}" type="presParOf" srcId="{ACD58B4C-F881-4FB0-9D98-98F1791CD957}" destId="{CB149952-816D-4BF1-A524-C7AAE09EEE3F}" srcOrd="3" destOrd="0" presId="urn:microsoft.com/office/officeart/2018/5/layout/CenteredIconLabelDescriptionList"/>
    <dgm:cxn modelId="{05E3E38F-B942-4640-8645-E0985C767123}" type="presParOf" srcId="{ACD58B4C-F881-4FB0-9D98-98F1791CD957}" destId="{84FBC90C-4BA3-431E-AF40-75C144AC7384}" srcOrd="4" destOrd="0" presId="urn:microsoft.com/office/officeart/2018/5/layout/CenteredIconLabelDescriptionList"/>
    <dgm:cxn modelId="{D074AB3A-C946-4AE2-A6CE-B968F0B3CC86}" type="presParOf" srcId="{386C1653-DAE7-446E-AA17-738183E83975}" destId="{744BCCDB-5C2E-450A-AFE0-870EF68629B6}" srcOrd="3" destOrd="0" presId="urn:microsoft.com/office/officeart/2018/5/layout/CenteredIconLabelDescriptionList"/>
    <dgm:cxn modelId="{D0B77853-3D3E-4B20-BD66-E1DE5E454000}" type="presParOf" srcId="{386C1653-DAE7-446E-AA17-738183E83975}" destId="{CC6A3841-85A9-417F-8CAE-E2E30765C007}" srcOrd="4" destOrd="0" presId="urn:microsoft.com/office/officeart/2018/5/layout/CenteredIconLabelDescriptionList"/>
    <dgm:cxn modelId="{0B6AF52E-925A-44B7-B947-CBC951812561}" type="presParOf" srcId="{CC6A3841-85A9-417F-8CAE-E2E30765C007}" destId="{0FAB1363-6388-42E5-B541-8A6262AAE95C}" srcOrd="0" destOrd="0" presId="urn:microsoft.com/office/officeart/2018/5/layout/CenteredIconLabelDescriptionList"/>
    <dgm:cxn modelId="{67141345-1BC9-43F6-AE90-C3596C551D3F}" type="presParOf" srcId="{CC6A3841-85A9-417F-8CAE-E2E30765C007}" destId="{ED906D6C-5264-4A99-A8BE-CAF1F76968C8}" srcOrd="1" destOrd="0" presId="urn:microsoft.com/office/officeart/2018/5/layout/CenteredIconLabelDescriptionList"/>
    <dgm:cxn modelId="{4C864C24-4AD5-48DB-923D-0FFB388D70FC}" type="presParOf" srcId="{CC6A3841-85A9-417F-8CAE-E2E30765C007}" destId="{B8A7BB79-979E-4333-961B-4E9D508A0E49}" srcOrd="2" destOrd="0" presId="urn:microsoft.com/office/officeart/2018/5/layout/CenteredIconLabelDescriptionList"/>
    <dgm:cxn modelId="{46421AD7-9908-4EB9-B96E-4A3783B3B74D}" type="presParOf" srcId="{CC6A3841-85A9-417F-8CAE-E2E30765C007}" destId="{7F8FA1BC-1300-49FB-8CE8-49383AD08553}" srcOrd="3" destOrd="0" presId="urn:microsoft.com/office/officeart/2018/5/layout/CenteredIconLabelDescriptionList"/>
    <dgm:cxn modelId="{BD8D63C9-C1F2-49BB-8309-CDCE244B5493}" type="presParOf" srcId="{CC6A3841-85A9-417F-8CAE-E2E30765C007}" destId="{E14BC8B3-D050-45C0-93EA-731B8521D4CF}" srcOrd="4" destOrd="0" presId="urn:microsoft.com/office/officeart/2018/5/layout/CenteredIconLabelDescription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E631195-C534-4ED2-AD1E-7FE45AAED4E1}" type="doc">
      <dgm:prSet loTypeId="urn:microsoft.com/office/officeart/2018/5/layout/CenteredIconLabelDescription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75B143E9-9C02-4B24-A4E7-4E6FF97794C8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GB" sz="1600" dirty="0">
              <a:solidFill>
                <a:schemeClr val="bg1"/>
              </a:solidFill>
            </a:rPr>
            <a:t>Level 2</a:t>
          </a:r>
          <a:endParaRPr lang="en-US" sz="1600" dirty="0">
            <a:solidFill>
              <a:schemeClr val="bg1"/>
            </a:solidFill>
          </a:endParaRPr>
        </a:p>
      </dgm:t>
    </dgm:pt>
    <dgm:pt modelId="{74ED06C2-9115-494A-81EC-1D6C32F62540}" type="parTrans" cxnId="{0627F5BD-84D3-4B01-B646-5227BFC2714A}">
      <dgm:prSet/>
      <dgm:spPr/>
      <dgm:t>
        <a:bodyPr/>
        <a:lstStyle/>
        <a:p>
          <a:endParaRPr lang="en-US" sz="2400">
            <a:solidFill>
              <a:schemeClr val="bg1"/>
            </a:solidFill>
          </a:endParaRPr>
        </a:p>
      </dgm:t>
    </dgm:pt>
    <dgm:pt modelId="{A0FA7895-AA6B-4103-8E96-A577DC4D4444}" type="sibTrans" cxnId="{0627F5BD-84D3-4B01-B646-5227BFC2714A}">
      <dgm:prSet/>
      <dgm:spPr/>
      <dgm:t>
        <a:bodyPr/>
        <a:lstStyle/>
        <a:p>
          <a:endParaRPr lang="en-US" sz="2400">
            <a:solidFill>
              <a:schemeClr val="bg1"/>
            </a:solidFill>
          </a:endParaRPr>
        </a:p>
      </dgm:t>
    </dgm:pt>
    <dgm:pt modelId="{23266AFE-74F6-46B0-B853-97C86B4BFC45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GB" sz="1600" dirty="0">
              <a:solidFill>
                <a:schemeClr val="bg1"/>
              </a:solidFill>
            </a:rPr>
            <a:t>2 Years</a:t>
          </a:r>
          <a:endParaRPr lang="en-US" sz="1600" dirty="0">
            <a:solidFill>
              <a:schemeClr val="bg1"/>
            </a:solidFill>
          </a:endParaRPr>
        </a:p>
      </dgm:t>
    </dgm:pt>
    <dgm:pt modelId="{95A7093C-E6CE-4B21-A713-723B68450E72}" type="parTrans" cxnId="{2C9BC3EC-A787-4941-B142-278AA3EE724B}">
      <dgm:prSet/>
      <dgm:spPr/>
      <dgm:t>
        <a:bodyPr/>
        <a:lstStyle/>
        <a:p>
          <a:endParaRPr lang="en-US" sz="2400">
            <a:solidFill>
              <a:schemeClr val="bg1"/>
            </a:solidFill>
          </a:endParaRPr>
        </a:p>
      </dgm:t>
    </dgm:pt>
    <dgm:pt modelId="{F3430F14-AE60-4D2A-BC66-8B86C7CA2CB9}" type="sibTrans" cxnId="{2C9BC3EC-A787-4941-B142-278AA3EE724B}">
      <dgm:prSet/>
      <dgm:spPr/>
      <dgm:t>
        <a:bodyPr/>
        <a:lstStyle/>
        <a:p>
          <a:endParaRPr lang="en-US" sz="2400">
            <a:solidFill>
              <a:schemeClr val="bg1"/>
            </a:solidFill>
          </a:endParaRPr>
        </a:p>
      </dgm:t>
    </dgm:pt>
    <dgm:pt modelId="{1F933AB6-56DB-4B35-934C-C2FDFA8B78E8}">
      <dgm:prSet custT="1"/>
      <dgm:spPr/>
      <dgm:t>
        <a:bodyPr anchor="ctr"/>
        <a:lstStyle/>
        <a:p>
          <a:pPr>
            <a:lnSpc>
              <a:spcPct val="100000"/>
            </a:lnSpc>
            <a:defRPr b="1"/>
          </a:pPr>
          <a:r>
            <a:rPr lang="en-US" sz="1800" dirty="0">
              <a:solidFill>
                <a:schemeClr val="bg1"/>
              </a:solidFill>
            </a:rPr>
            <a:t>Nuclear Operator</a:t>
          </a:r>
        </a:p>
      </dgm:t>
    </dgm:pt>
    <dgm:pt modelId="{E2C41F88-0299-465D-B2E6-E4888EC61A7C}" type="parTrans" cxnId="{6EA64622-4259-4E21-BF11-F2BA70300ADD}">
      <dgm:prSet/>
      <dgm:spPr/>
      <dgm:t>
        <a:bodyPr/>
        <a:lstStyle/>
        <a:p>
          <a:endParaRPr lang="en-GB"/>
        </a:p>
      </dgm:t>
    </dgm:pt>
    <dgm:pt modelId="{97323F3E-C011-4A54-AB52-1762B3B48058}" type="sibTrans" cxnId="{6EA64622-4259-4E21-BF11-F2BA70300ADD}">
      <dgm:prSet/>
      <dgm:spPr/>
      <dgm:t>
        <a:bodyPr/>
        <a:lstStyle/>
        <a:p>
          <a:endParaRPr lang="en-GB"/>
        </a:p>
      </dgm:t>
    </dgm:pt>
    <dgm:pt modelId="{607A9A8F-E0FD-4461-95F0-D1AEF3BA6C03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600" dirty="0">
              <a:solidFill>
                <a:schemeClr val="bg1"/>
              </a:solidFill>
            </a:rPr>
            <a:t>Level 2</a:t>
          </a:r>
        </a:p>
      </dgm:t>
    </dgm:pt>
    <dgm:pt modelId="{84FBF38E-EDE2-44AB-AFBD-19F0E96D879E}" type="parTrans" cxnId="{9A18B642-C354-4AE1-B125-1CB8745558E0}">
      <dgm:prSet/>
      <dgm:spPr/>
      <dgm:t>
        <a:bodyPr/>
        <a:lstStyle/>
        <a:p>
          <a:endParaRPr lang="en-GB"/>
        </a:p>
      </dgm:t>
    </dgm:pt>
    <dgm:pt modelId="{1A2E70D5-0AF5-4EAF-AF1A-04A1BAB0F5DC}" type="sibTrans" cxnId="{9A18B642-C354-4AE1-B125-1CB8745558E0}">
      <dgm:prSet/>
      <dgm:spPr/>
      <dgm:t>
        <a:bodyPr/>
        <a:lstStyle/>
        <a:p>
          <a:endParaRPr lang="en-GB"/>
        </a:p>
      </dgm:t>
    </dgm:pt>
    <dgm:pt modelId="{3D4C1767-26BC-4A8C-B5F2-39147A311522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600" dirty="0">
              <a:solidFill>
                <a:schemeClr val="bg1"/>
              </a:solidFill>
            </a:rPr>
            <a:t>2 Years</a:t>
          </a:r>
        </a:p>
      </dgm:t>
    </dgm:pt>
    <dgm:pt modelId="{D18B476F-5044-48E0-A578-BB482FEABF8B}" type="parTrans" cxnId="{97055A98-66BD-4EFD-8C24-E5A6A6D69158}">
      <dgm:prSet/>
      <dgm:spPr/>
      <dgm:t>
        <a:bodyPr/>
        <a:lstStyle/>
        <a:p>
          <a:endParaRPr lang="en-GB"/>
        </a:p>
      </dgm:t>
    </dgm:pt>
    <dgm:pt modelId="{C44782DD-FEDB-4AC6-99BA-A2D98BAAFB1E}" type="sibTrans" cxnId="{97055A98-66BD-4EFD-8C24-E5A6A6D69158}">
      <dgm:prSet/>
      <dgm:spPr/>
      <dgm:t>
        <a:bodyPr/>
        <a:lstStyle/>
        <a:p>
          <a:endParaRPr lang="en-GB"/>
        </a:p>
      </dgm:t>
    </dgm:pt>
    <dgm:pt modelId="{BECC55BA-5EBE-413C-8DBA-5D02BFB5130E}">
      <dgm:prSet custT="1"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GB" sz="1800" dirty="0">
              <a:solidFill>
                <a:schemeClr val="bg1"/>
              </a:solidFill>
            </a:rPr>
            <a:t>Health Physics Monitor</a:t>
          </a:r>
          <a:endParaRPr lang="en-US" dirty="0">
            <a:solidFill>
              <a:schemeClr val="bg1"/>
            </a:solidFill>
          </a:endParaRPr>
        </a:p>
      </dgm:t>
    </dgm:pt>
    <dgm:pt modelId="{564A296B-F1CC-483A-92C0-EA3C99E694C2}" type="parTrans" cxnId="{64F7B0FF-048F-4ADB-A3C1-E03265113287}">
      <dgm:prSet/>
      <dgm:spPr/>
      <dgm:t>
        <a:bodyPr/>
        <a:lstStyle/>
        <a:p>
          <a:endParaRPr lang="en-GB"/>
        </a:p>
      </dgm:t>
    </dgm:pt>
    <dgm:pt modelId="{99BF884F-FADE-4F4A-BD04-F64BDB5A2113}" type="sibTrans" cxnId="{64F7B0FF-048F-4ADB-A3C1-E03265113287}">
      <dgm:prSet/>
      <dgm:spPr/>
      <dgm:t>
        <a:bodyPr/>
        <a:lstStyle/>
        <a:p>
          <a:endParaRPr lang="en-GB"/>
        </a:p>
      </dgm:t>
    </dgm:pt>
    <dgm:pt modelId="{386C1653-DAE7-446E-AA17-738183E83975}" type="pres">
      <dgm:prSet presAssocID="{4E631195-C534-4ED2-AD1E-7FE45AAED4E1}" presName="root" presStyleCnt="0">
        <dgm:presLayoutVars>
          <dgm:dir/>
          <dgm:resizeHandles val="exact"/>
        </dgm:presLayoutVars>
      </dgm:prSet>
      <dgm:spPr/>
    </dgm:pt>
    <dgm:pt modelId="{ED1B5D3C-618C-4337-BCA6-3579E734ADB4}" type="pres">
      <dgm:prSet presAssocID="{BECC55BA-5EBE-413C-8DBA-5D02BFB5130E}" presName="compNode" presStyleCnt="0"/>
      <dgm:spPr/>
    </dgm:pt>
    <dgm:pt modelId="{CE612F4C-AB6B-48F3-8DAD-89BB9C3A6A7F}" type="pres">
      <dgm:prSet presAssocID="{BECC55BA-5EBE-413C-8DBA-5D02BFB5130E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ead with gears outline"/>
        </a:ext>
      </dgm:extLst>
    </dgm:pt>
    <dgm:pt modelId="{E634014F-30DD-408F-A649-F45DE7E9EA78}" type="pres">
      <dgm:prSet presAssocID="{BECC55BA-5EBE-413C-8DBA-5D02BFB5130E}" presName="iconSpace" presStyleCnt="0"/>
      <dgm:spPr/>
    </dgm:pt>
    <dgm:pt modelId="{78F7AEBF-7018-47FA-AC6C-14E039AF4664}" type="pres">
      <dgm:prSet presAssocID="{BECC55BA-5EBE-413C-8DBA-5D02BFB5130E}" presName="parTx" presStyleLbl="revTx" presStyleIdx="0" presStyleCnt="4">
        <dgm:presLayoutVars>
          <dgm:chMax val="0"/>
          <dgm:chPref val="0"/>
        </dgm:presLayoutVars>
      </dgm:prSet>
      <dgm:spPr/>
    </dgm:pt>
    <dgm:pt modelId="{BBD0BF55-0C22-4BC9-947B-3AA1253A941F}" type="pres">
      <dgm:prSet presAssocID="{BECC55BA-5EBE-413C-8DBA-5D02BFB5130E}" presName="txSpace" presStyleCnt="0"/>
      <dgm:spPr/>
    </dgm:pt>
    <dgm:pt modelId="{B941B161-0604-467B-8B56-504664957709}" type="pres">
      <dgm:prSet presAssocID="{BECC55BA-5EBE-413C-8DBA-5D02BFB5130E}" presName="desTx" presStyleLbl="revTx" presStyleIdx="1" presStyleCnt="4">
        <dgm:presLayoutVars/>
      </dgm:prSet>
      <dgm:spPr/>
    </dgm:pt>
    <dgm:pt modelId="{6BEF115A-0CFF-4E8A-A1A9-788B28751ED4}" type="pres">
      <dgm:prSet presAssocID="{99BF884F-FADE-4F4A-BD04-F64BDB5A2113}" presName="sibTrans" presStyleCnt="0"/>
      <dgm:spPr/>
    </dgm:pt>
    <dgm:pt modelId="{BB427FDD-00BC-4CCB-A911-FEF6360524CE}" type="pres">
      <dgm:prSet presAssocID="{1F933AB6-56DB-4B35-934C-C2FDFA8B78E8}" presName="compNode" presStyleCnt="0"/>
      <dgm:spPr/>
    </dgm:pt>
    <dgm:pt modelId="{F7F3E7B7-8AF5-4992-A7DA-A00421788739}" type="pres">
      <dgm:prSet presAssocID="{1F933AB6-56DB-4B35-934C-C2FDFA8B78E8}" presName="iconRect" presStyleLbl="node1" presStyleIdx="1" presStyleCnt="2" custScaleX="12923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Robot Hand with solid fill"/>
        </a:ext>
      </dgm:extLst>
    </dgm:pt>
    <dgm:pt modelId="{8D3BC4BB-106B-4F6C-A116-FD3A31F31E42}" type="pres">
      <dgm:prSet presAssocID="{1F933AB6-56DB-4B35-934C-C2FDFA8B78E8}" presName="iconSpace" presStyleCnt="0"/>
      <dgm:spPr/>
    </dgm:pt>
    <dgm:pt modelId="{99F6C7AF-CE4C-424A-A1BB-D2F39D52FF0A}" type="pres">
      <dgm:prSet presAssocID="{1F933AB6-56DB-4B35-934C-C2FDFA8B78E8}" presName="parTx" presStyleLbl="revTx" presStyleIdx="2" presStyleCnt="4">
        <dgm:presLayoutVars>
          <dgm:chMax val="0"/>
          <dgm:chPref val="0"/>
        </dgm:presLayoutVars>
      </dgm:prSet>
      <dgm:spPr/>
    </dgm:pt>
    <dgm:pt modelId="{F888D130-4721-4F9D-9A71-A71EDFABBFEC}" type="pres">
      <dgm:prSet presAssocID="{1F933AB6-56DB-4B35-934C-C2FDFA8B78E8}" presName="txSpace" presStyleCnt="0"/>
      <dgm:spPr/>
    </dgm:pt>
    <dgm:pt modelId="{F85C9D4D-2C12-4A58-BD94-332FADCE9F09}" type="pres">
      <dgm:prSet presAssocID="{1F933AB6-56DB-4B35-934C-C2FDFA8B78E8}" presName="desTx" presStyleLbl="revTx" presStyleIdx="3" presStyleCnt="4">
        <dgm:presLayoutVars/>
      </dgm:prSet>
      <dgm:spPr/>
    </dgm:pt>
  </dgm:ptLst>
  <dgm:cxnLst>
    <dgm:cxn modelId="{B3335502-66C1-4283-A0DC-2587F3E94A19}" type="presOf" srcId="{3D4C1767-26BC-4A8C-B5F2-39147A311522}" destId="{F85C9D4D-2C12-4A58-BD94-332FADCE9F09}" srcOrd="0" destOrd="1" presId="urn:microsoft.com/office/officeart/2018/5/layout/CenteredIconLabelDescriptionList"/>
    <dgm:cxn modelId="{6EA64622-4259-4E21-BF11-F2BA70300ADD}" srcId="{4E631195-C534-4ED2-AD1E-7FE45AAED4E1}" destId="{1F933AB6-56DB-4B35-934C-C2FDFA8B78E8}" srcOrd="1" destOrd="0" parTransId="{E2C41F88-0299-465D-B2E6-E4888EC61A7C}" sibTransId="{97323F3E-C011-4A54-AB52-1762B3B48058}"/>
    <dgm:cxn modelId="{8701C323-AE1C-4129-B4C9-D90294D068A1}" type="presOf" srcId="{607A9A8F-E0FD-4461-95F0-D1AEF3BA6C03}" destId="{F85C9D4D-2C12-4A58-BD94-332FADCE9F09}" srcOrd="0" destOrd="0" presId="urn:microsoft.com/office/officeart/2018/5/layout/CenteredIconLabelDescriptionList"/>
    <dgm:cxn modelId="{9A18B642-C354-4AE1-B125-1CB8745558E0}" srcId="{1F933AB6-56DB-4B35-934C-C2FDFA8B78E8}" destId="{607A9A8F-E0FD-4461-95F0-D1AEF3BA6C03}" srcOrd="0" destOrd="0" parTransId="{84FBF38E-EDE2-44AB-AFBD-19F0E96D879E}" sibTransId="{1A2E70D5-0AF5-4EAF-AF1A-04A1BAB0F5DC}"/>
    <dgm:cxn modelId="{C5972F47-7E8C-4ACE-86BB-FFDBFC8897DF}" type="presOf" srcId="{75B143E9-9C02-4B24-A4E7-4E6FF97794C8}" destId="{B941B161-0604-467B-8B56-504664957709}" srcOrd="0" destOrd="0" presId="urn:microsoft.com/office/officeart/2018/5/layout/CenteredIconLabelDescriptionList"/>
    <dgm:cxn modelId="{28554067-0FBA-4507-9E2A-99D4CA7824F0}" type="presOf" srcId="{23266AFE-74F6-46B0-B853-97C86B4BFC45}" destId="{B941B161-0604-467B-8B56-504664957709}" srcOrd="0" destOrd="1" presId="urn:microsoft.com/office/officeart/2018/5/layout/CenteredIconLabelDescriptionList"/>
    <dgm:cxn modelId="{14723381-91C1-43D0-98CE-CF9D6708F849}" type="presOf" srcId="{4E631195-C534-4ED2-AD1E-7FE45AAED4E1}" destId="{386C1653-DAE7-446E-AA17-738183E83975}" srcOrd="0" destOrd="0" presId="urn:microsoft.com/office/officeart/2018/5/layout/CenteredIconLabelDescriptionList"/>
    <dgm:cxn modelId="{1C207790-8F6A-4A47-8805-475C217B3C25}" type="presOf" srcId="{BECC55BA-5EBE-413C-8DBA-5D02BFB5130E}" destId="{78F7AEBF-7018-47FA-AC6C-14E039AF4664}" srcOrd="0" destOrd="0" presId="urn:microsoft.com/office/officeart/2018/5/layout/CenteredIconLabelDescriptionList"/>
    <dgm:cxn modelId="{97055A98-66BD-4EFD-8C24-E5A6A6D69158}" srcId="{1F933AB6-56DB-4B35-934C-C2FDFA8B78E8}" destId="{3D4C1767-26BC-4A8C-B5F2-39147A311522}" srcOrd="1" destOrd="0" parTransId="{D18B476F-5044-48E0-A578-BB482FEABF8B}" sibTransId="{C44782DD-FEDB-4AC6-99BA-A2D98BAAFB1E}"/>
    <dgm:cxn modelId="{0627F5BD-84D3-4B01-B646-5227BFC2714A}" srcId="{BECC55BA-5EBE-413C-8DBA-5D02BFB5130E}" destId="{75B143E9-9C02-4B24-A4E7-4E6FF97794C8}" srcOrd="0" destOrd="0" parTransId="{74ED06C2-9115-494A-81EC-1D6C32F62540}" sibTransId="{A0FA7895-AA6B-4103-8E96-A577DC4D4444}"/>
    <dgm:cxn modelId="{6024BBE0-1833-4406-ADD0-E20B2F3954EF}" type="presOf" srcId="{1F933AB6-56DB-4B35-934C-C2FDFA8B78E8}" destId="{99F6C7AF-CE4C-424A-A1BB-D2F39D52FF0A}" srcOrd="0" destOrd="0" presId="urn:microsoft.com/office/officeart/2018/5/layout/CenteredIconLabelDescriptionList"/>
    <dgm:cxn modelId="{2C9BC3EC-A787-4941-B142-278AA3EE724B}" srcId="{BECC55BA-5EBE-413C-8DBA-5D02BFB5130E}" destId="{23266AFE-74F6-46B0-B853-97C86B4BFC45}" srcOrd="1" destOrd="0" parTransId="{95A7093C-E6CE-4B21-A713-723B68450E72}" sibTransId="{F3430F14-AE60-4D2A-BC66-8B86C7CA2CB9}"/>
    <dgm:cxn modelId="{64F7B0FF-048F-4ADB-A3C1-E03265113287}" srcId="{4E631195-C534-4ED2-AD1E-7FE45AAED4E1}" destId="{BECC55BA-5EBE-413C-8DBA-5D02BFB5130E}" srcOrd="0" destOrd="0" parTransId="{564A296B-F1CC-483A-92C0-EA3C99E694C2}" sibTransId="{99BF884F-FADE-4F4A-BD04-F64BDB5A2113}"/>
    <dgm:cxn modelId="{1FC081DF-DCC1-469B-94D8-1FFCDB6FFACD}" type="presParOf" srcId="{386C1653-DAE7-446E-AA17-738183E83975}" destId="{ED1B5D3C-618C-4337-BCA6-3579E734ADB4}" srcOrd="0" destOrd="0" presId="urn:microsoft.com/office/officeart/2018/5/layout/CenteredIconLabelDescriptionList"/>
    <dgm:cxn modelId="{3FFE6337-DE75-41E9-B436-5A389B658163}" type="presParOf" srcId="{ED1B5D3C-618C-4337-BCA6-3579E734ADB4}" destId="{CE612F4C-AB6B-48F3-8DAD-89BB9C3A6A7F}" srcOrd="0" destOrd="0" presId="urn:microsoft.com/office/officeart/2018/5/layout/CenteredIconLabelDescriptionList"/>
    <dgm:cxn modelId="{9D00A048-E8A8-452A-8BB8-0B0EE5B5A158}" type="presParOf" srcId="{ED1B5D3C-618C-4337-BCA6-3579E734ADB4}" destId="{E634014F-30DD-408F-A649-F45DE7E9EA78}" srcOrd="1" destOrd="0" presId="urn:microsoft.com/office/officeart/2018/5/layout/CenteredIconLabelDescriptionList"/>
    <dgm:cxn modelId="{13440820-E1AA-4B42-97E2-D9593287FE1F}" type="presParOf" srcId="{ED1B5D3C-618C-4337-BCA6-3579E734ADB4}" destId="{78F7AEBF-7018-47FA-AC6C-14E039AF4664}" srcOrd="2" destOrd="0" presId="urn:microsoft.com/office/officeart/2018/5/layout/CenteredIconLabelDescriptionList"/>
    <dgm:cxn modelId="{199B2964-6875-4138-9057-C9C5AF3181D7}" type="presParOf" srcId="{ED1B5D3C-618C-4337-BCA6-3579E734ADB4}" destId="{BBD0BF55-0C22-4BC9-947B-3AA1253A941F}" srcOrd="3" destOrd="0" presId="urn:microsoft.com/office/officeart/2018/5/layout/CenteredIconLabelDescriptionList"/>
    <dgm:cxn modelId="{CCF718BE-705F-417F-A706-942A532DCD74}" type="presParOf" srcId="{ED1B5D3C-618C-4337-BCA6-3579E734ADB4}" destId="{B941B161-0604-467B-8B56-504664957709}" srcOrd="4" destOrd="0" presId="urn:microsoft.com/office/officeart/2018/5/layout/CenteredIconLabelDescriptionList"/>
    <dgm:cxn modelId="{94E1ABBF-7D1E-4DE6-A5CD-A258621EA696}" type="presParOf" srcId="{386C1653-DAE7-446E-AA17-738183E83975}" destId="{6BEF115A-0CFF-4E8A-A1A9-788B28751ED4}" srcOrd="1" destOrd="0" presId="urn:microsoft.com/office/officeart/2018/5/layout/CenteredIconLabelDescriptionList"/>
    <dgm:cxn modelId="{74936A44-EFC9-404A-8690-1D072757C2F3}" type="presParOf" srcId="{386C1653-DAE7-446E-AA17-738183E83975}" destId="{BB427FDD-00BC-4CCB-A911-FEF6360524CE}" srcOrd="2" destOrd="0" presId="urn:microsoft.com/office/officeart/2018/5/layout/CenteredIconLabelDescriptionList"/>
    <dgm:cxn modelId="{FF98F8F1-5F20-48A8-91DF-881F4D8BAF2E}" type="presParOf" srcId="{BB427FDD-00BC-4CCB-A911-FEF6360524CE}" destId="{F7F3E7B7-8AF5-4992-A7DA-A00421788739}" srcOrd="0" destOrd="0" presId="urn:microsoft.com/office/officeart/2018/5/layout/CenteredIconLabelDescriptionList"/>
    <dgm:cxn modelId="{6391F50D-0481-4929-AEDA-4BF26448DCB7}" type="presParOf" srcId="{BB427FDD-00BC-4CCB-A911-FEF6360524CE}" destId="{8D3BC4BB-106B-4F6C-A116-FD3A31F31E42}" srcOrd="1" destOrd="0" presId="urn:microsoft.com/office/officeart/2018/5/layout/CenteredIconLabelDescriptionList"/>
    <dgm:cxn modelId="{3E4A29A3-55E2-465E-A549-A06DE444E2EA}" type="presParOf" srcId="{BB427FDD-00BC-4CCB-A911-FEF6360524CE}" destId="{99F6C7AF-CE4C-424A-A1BB-D2F39D52FF0A}" srcOrd="2" destOrd="0" presId="urn:microsoft.com/office/officeart/2018/5/layout/CenteredIconLabelDescriptionList"/>
    <dgm:cxn modelId="{DFBCFE1F-D354-4707-99A0-4CC50B81AF1E}" type="presParOf" srcId="{BB427FDD-00BC-4CCB-A911-FEF6360524CE}" destId="{F888D130-4721-4F9D-9A71-A71EDFABBFEC}" srcOrd="3" destOrd="0" presId="urn:microsoft.com/office/officeart/2018/5/layout/CenteredIconLabelDescriptionList"/>
    <dgm:cxn modelId="{10184F6D-3D88-4168-9E5C-E545A6A9D7EE}" type="presParOf" srcId="{BB427FDD-00BC-4CCB-A911-FEF6360524CE}" destId="{F85C9D4D-2C12-4A58-BD94-332FADCE9F09}" srcOrd="4" destOrd="0" presId="urn:microsoft.com/office/officeart/2018/5/layout/CenteredIconLabelDescriptionList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EBDF84B-CAF3-411A-8801-FD5BA28B77BC}" type="doc">
      <dgm:prSet loTypeId="urn:microsoft.com/office/officeart/2005/8/layout/process3" loCatId="process" qsTypeId="urn:microsoft.com/office/officeart/2005/8/quickstyle/simple1" qsCatId="simple" csTypeId="urn:microsoft.com/office/officeart/2005/8/colors/accent6_4" csCatId="accent6" phldr="1"/>
      <dgm:spPr/>
      <dgm:t>
        <a:bodyPr/>
        <a:lstStyle/>
        <a:p>
          <a:endParaRPr lang="en-GB"/>
        </a:p>
      </dgm:t>
    </dgm:pt>
    <dgm:pt modelId="{D3E4EE82-AB82-46FF-ABE7-EC59830004FB}">
      <dgm:prSet phldrT="[Text]"/>
      <dgm:spPr/>
      <dgm:t>
        <a:bodyPr/>
        <a:lstStyle/>
        <a:p>
          <a:r>
            <a:rPr lang="en-GB" b="1" dirty="0"/>
            <a:t>Craft, Health Physics &amp; Nuclear Operator </a:t>
          </a:r>
        </a:p>
      </dgm:t>
    </dgm:pt>
    <dgm:pt modelId="{B7515A35-C94E-4BF4-A73E-46D282B7BE01}" type="parTrans" cxnId="{49559889-D510-4814-BD2A-5A89B63A1A24}">
      <dgm:prSet/>
      <dgm:spPr/>
      <dgm:t>
        <a:bodyPr/>
        <a:lstStyle/>
        <a:p>
          <a:endParaRPr lang="en-GB"/>
        </a:p>
      </dgm:t>
    </dgm:pt>
    <dgm:pt modelId="{9178C51E-786A-4473-B7F6-F4E0F7232220}" type="sibTrans" cxnId="{49559889-D510-4814-BD2A-5A89B63A1A24}">
      <dgm:prSet/>
      <dgm:spPr/>
      <dgm:t>
        <a:bodyPr/>
        <a:lstStyle/>
        <a:p>
          <a:endParaRPr lang="en-GB"/>
        </a:p>
      </dgm:t>
    </dgm:pt>
    <dgm:pt modelId="{BBA0215F-FD1A-4792-BF3C-AF3EF7052C10}">
      <dgm:prSet phldrT="[Text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GB" sz="1400" dirty="0">
              <a:latin typeface="+mn-lt"/>
            </a:rPr>
            <a:t>M</a:t>
          </a:r>
          <a:r>
            <a:rPr lang="en-GB" sz="1400" i="0" dirty="0">
              <a:effectLst/>
              <a:latin typeface="+mn-lt"/>
            </a:rPr>
            <a:t>inimum of 3 GCSEs Grade 4 (Grade C) in Mathematics, English Language &amp; one Science, or Engineering subject, or equivalent (e.g. Functional Skills Level 2).</a:t>
          </a:r>
          <a:r>
            <a:rPr lang="en-GB" sz="1400" dirty="0">
              <a:latin typeface="+mn-lt"/>
            </a:rPr>
            <a:t> </a:t>
          </a:r>
          <a:endParaRPr lang="en-GB" sz="1400" dirty="0"/>
        </a:p>
      </dgm:t>
    </dgm:pt>
    <dgm:pt modelId="{4FA4D798-41B5-4777-9F6A-99DEE4F9FADE}" type="parTrans" cxnId="{FB4ED35C-EEB0-4B0F-838F-67677375C8E1}">
      <dgm:prSet/>
      <dgm:spPr/>
      <dgm:t>
        <a:bodyPr/>
        <a:lstStyle/>
        <a:p>
          <a:endParaRPr lang="en-GB"/>
        </a:p>
      </dgm:t>
    </dgm:pt>
    <dgm:pt modelId="{B2DBC175-3DAD-4557-9A0A-018B8E844DBD}" type="sibTrans" cxnId="{FB4ED35C-EEB0-4B0F-838F-67677375C8E1}">
      <dgm:prSet/>
      <dgm:spPr/>
      <dgm:t>
        <a:bodyPr/>
        <a:lstStyle/>
        <a:p>
          <a:endParaRPr lang="en-GB"/>
        </a:p>
      </dgm:t>
    </dgm:pt>
    <dgm:pt modelId="{49C4ADE7-62EA-435D-80C2-74C4E1D71697}">
      <dgm:prSet phldrT="[Text]"/>
      <dgm:spPr/>
      <dgm:t>
        <a:bodyPr/>
        <a:lstStyle/>
        <a:p>
          <a:r>
            <a:rPr lang="en-GB" b="1" dirty="0"/>
            <a:t>Business Administration</a:t>
          </a:r>
        </a:p>
      </dgm:t>
    </dgm:pt>
    <dgm:pt modelId="{8404A258-AFB7-413F-888D-8F067B562672}" type="parTrans" cxnId="{8299ADC0-2183-4602-804B-57381FEBE2E5}">
      <dgm:prSet/>
      <dgm:spPr/>
      <dgm:t>
        <a:bodyPr/>
        <a:lstStyle/>
        <a:p>
          <a:endParaRPr lang="en-GB"/>
        </a:p>
      </dgm:t>
    </dgm:pt>
    <dgm:pt modelId="{16AD72EC-28B3-41E1-A631-4B24FC1A0EBD}" type="sibTrans" cxnId="{8299ADC0-2183-4602-804B-57381FEBE2E5}">
      <dgm:prSet/>
      <dgm:spPr/>
      <dgm:t>
        <a:bodyPr/>
        <a:lstStyle/>
        <a:p>
          <a:endParaRPr lang="en-GB"/>
        </a:p>
      </dgm:t>
    </dgm:pt>
    <dgm:pt modelId="{87C0FDC1-0A9C-490A-B253-1F4987E6A6C5}">
      <dgm:prSet phldrT="[Text]" custT="1"/>
      <dgm:spPr/>
      <dgm:t>
        <a:bodyPr/>
        <a:lstStyle/>
        <a:p>
          <a:r>
            <a:rPr lang="en-GB" sz="1400" b="0" i="0" dirty="0">
              <a:effectLst/>
              <a:latin typeface="+mn-lt"/>
            </a:rPr>
            <a:t>Minimum of 3 GCSEs Grade 4 (Grade C) in Mathematics, English Language &amp; 1 Science/Engineering subject OR ICT subject (Business Studies, ICT Level 2, BTEC Level 2, Higher ECDL or similar) or equivalent (e.g. Functional Skills Level 2).</a:t>
          </a:r>
          <a:r>
            <a:rPr lang="en-GB" sz="1400" dirty="0">
              <a:latin typeface="+mn-lt"/>
            </a:rPr>
            <a:t> </a:t>
          </a:r>
          <a:endParaRPr lang="en-GB" sz="1400" dirty="0"/>
        </a:p>
      </dgm:t>
    </dgm:pt>
    <dgm:pt modelId="{1C5C2674-7DBB-4744-96BA-8B0B034A7972}" type="parTrans" cxnId="{230C6219-4065-4D6E-8CAB-FBFEF53CDFED}">
      <dgm:prSet/>
      <dgm:spPr/>
      <dgm:t>
        <a:bodyPr/>
        <a:lstStyle/>
        <a:p>
          <a:endParaRPr lang="en-GB"/>
        </a:p>
      </dgm:t>
    </dgm:pt>
    <dgm:pt modelId="{D91FC158-A977-4A5C-A775-80FF4703B5CD}" type="sibTrans" cxnId="{230C6219-4065-4D6E-8CAB-FBFEF53CDFED}">
      <dgm:prSet/>
      <dgm:spPr/>
      <dgm:t>
        <a:bodyPr/>
        <a:lstStyle/>
        <a:p>
          <a:endParaRPr lang="en-GB"/>
        </a:p>
      </dgm:t>
    </dgm:pt>
    <dgm:pt modelId="{FA0F5A37-4C48-462A-9B10-DB2EB0651A08}">
      <dgm:prSet phldrT="[Text]"/>
      <dgm:spPr/>
      <dgm:t>
        <a:bodyPr/>
        <a:lstStyle/>
        <a:p>
          <a:r>
            <a:rPr lang="en-GB" b="1" dirty="0"/>
            <a:t>Nuclear Welding Inspection Technician </a:t>
          </a:r>
        </a:p>
      </dgm:t>
    </dgm:pt>
    <dgm:pt modelId="{30C3905E-0953-4BFA-812C-66E2DFBC641C}" type="parTrans" cxnId="{2534D60F-C790-47AE-B26D-186F88EDEB31}">
      <dgm:prSet/>
      <dgm:spPr/>
      <dgm:t>
        <a:bodyPr/>
        <a:lstStyle/>
        <a:p>
          <a:endParaRPr lang="en-GB"/>
        </a:p>
      </dgm:t>
    </dgm:pt>
    <dgm:pt modelId="{9BCE8DFF-84B2-4104-96DD-8EB15B44B128}" type="sibTrans" cxnId="{2534D60F-C790-47AE-B26D-186F88EDEB31}">
      <dgm:prSet/>
      <dgm:spPr/>
      <dgm:t>
        <a:bodyPr/>
        <a:lstStyle/>
        <a:p>
          <a:endParaRPr lang="en-GB"/>
        </a:p>
      </dgm:t>
    </dgm:pt>
    <dgm:pt modelId="{093D9D25-7EDB-4249-9FB8-40D2F95A7730}">
      <dgm:prSet phldrT="[Text]" custT="1"/>
      <dgm:spPr/>
      <dgm:t>
        <a:bodyPr/>
        <a:lstStyle/>
        <a:p>
          <a:r>
            <a:rPr lang="en-GB" sz="1400" b="0" i="0" dirty="0">
              <a:effectLst/>
              <a:latin typeface="+mn-lt"/>
            </a:rPr>
            <a:t>Minimum of 5 GCSEs at Grade 4 (Grades A to C) including 1 Science or Engineering subject or equivalent (e.g. Functional Skills Level 2) &amp; Mathematics and English Language at Grade 5 (Grade B) or above.</a:t>
          </a:r>
          <a:endParaRPr lang="en-GB" sz="1400" dirty="0"/>
        </a:p>
      </dgm:t>
    </dgm:pt>
    <dgm:pt modelId="{8C6C99D3-F6FD-4C6F-BB48-31C66B8ED4B4}" type="parTrans" cxnId="{21C10CA2-2167-4C46-B5A4-430AA5AFFABA}">
      <dgm:prSet/>
      <dgm:spPr/>
      <dgm:t>
        <a:bodyPr/>
        <a:lstStyle/>
        <a:p>
          <a:endParaRPr lang="en-GB"/>
        </a:p>
      </dgm:t>
    </dgm:pt>
    <dgm:pt modelId="{232930A8-0C9B-4501-80E3-ADEBD5AA19DF}" type="sibTrans" cxnId="{21C10CA2-2167-4C46-B5A4-430AA5AFFABA}">
      <dgm:prSet/>
      <dgm:spPr/>
      <dgm:t>
        <a:bodyPr/>
        <a:lstStyle/>
        <a:p>
          <a:endParaRPr lang="en-GB"/>
        </a:p>
      </dgm:t>
    </dgm:pt>
    <dgm:pt modelId="{FFBC215C-B3DC-4131-8954-612222615196}">
      <dgm:prSet custT="1"/>
      <dgm:spPr/>
      <dgm:t>
        <a:bodyPr/>
        <a:lstStyle/>
        <a:p>
          <a:r>
            <a:rPr lang="en-GB" sz="1400" dirty="0">
              <a:latin typeface="+mn-lt"/>
            </a:rPr>
            <a:t>Age requirements for Health Physics (must be 18 by start date) and Nuclear Operator (must be 18 by February 2024) </a:t>
          </a:r>
        </a:p>
      </dgm:t>
    </dgm:pt>
    <dgm:pt modelId="{FF462FC5-8169-4752-9FFC-BF0A65F44ABC}" type="parTrans" cxnId="{38ABD478-7794-4D8B-B738-8711F09A374E}">
      <dgm:prSet/>
      <dgm:spPr/>
      <dgm:t>
        <a:bodyPr/>
        <a:lstStyle/>
        <a:p>
          <a:endParaRPr lang="en-GB"/>
        </a:p>
      </dgm:t>
    </dgm:pt>
    <dgm:pt modelId="{39C8A32C-8A53-48DB-BDDC-9B85640B7CE0}" type="sibTrans" cxnId="{38ABD478-7794-4D8B-B738-8711F09A374E}">
      <dgm:prSet/>
      <dgm:spPr/>
      <dgm:t>
        <a:bodyPr/>
        <a:lstStyle/>
        <a:p>
          <a:endParaRPr lang="en-GB"/>
        </a:p>
      </dgm:t>
    </dgm:pt>
    <dgm:pt modelId="{0630A372-E519-4C8B-8468-73DC769F090A}">
      <dgm:prSet phldrT="[Text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endParaRPr lang="en-GB" sz="1400" dirty="0"/>
        </a:p>
      </dgm:t>
    </dgm:pt>
    <dgm:pt modelId="{6AEB9104-F360-4A52-909E-A360A53EBC18}" type="parTrans" cxnId="{A31676E6-8DCB-49B1-9604-6506D69B4BBB}">
      <dgm:prSet/>
      <dgm:spPr/>
      <dgm:t>
        <a:bodyPr/>
        <a:lstStyle/>
        <a:p>
          <a:endParaRPr lang="en-GB"/>
        </a:p>
      </dgm:t>
    </dgm:pt>
    <dgm:pt modelId="{7752582C-9E01-4FCB-ADF7-AF0B29ABC33E}" type="sibTrans" cxnId="{A31676E6-8DCB-49B1-9604-6506D69B4BBB}">
      <dgm:prSet/>
      <dgm:spPr/>
      <dgm:t>
        <a:bodyPr/>
        <a:lstStyle/>
        <a:p>
          <a:endParaRPr lang="en-GB"/>
        </a:p>
      </dgm:t>
    </dgm:pt>
    <dgm:pt modelId="{236EF684-A381-4F63-B54D-331558E44450}" type="pres">
      <dgm:prSet presAssocID="{DEBDF84B-CAF3-411A-8801-FD5BA28B77BC}" presName="linearFlow" presStyleCnt="0">
        <dgm:presLayoutVars>
          <dgm:dir/>
          <dgm:animLvl val="lvl"/>
          <dgm:resizeHandles val="exact"/>
        </dgm:presLayoutVars>
      </dgm:prSet>
      <dgm:spPr/>
    </dgm:pt>
    <dgm:pt modelId="{882F72F8-FBD7-4F49-AAAE-D455439AB762}" type="pres">
      <dgm:prSet presAssocID="{D3E4EE82-AB82-46FF-ABE7-EC59830004FB}" presName="composite" presStyleCnt="0"/>
      <dgm:spPr/>
    </dgm:pt>
    <dgm:pt modelId="{578693AD-086B-47DE-B937-9DB01F45BB78}" type="pres">
      <dgm:prSet presAssocID="{D3E4EE82-AB82-46FF-ABE7-EC59830004FB}" presName="par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995D0582-FFDE-4A26-9204-24FC46381DF1}" type="pres">
      <dgm:prSet presAssocID="{D3E4EE82-AB82-46FF-ABE7-EC59830004FB}" presName="parSh" presStyleLbl="node1" presStyleIdx="0" presStyleCnt="3"/>
      <dgm:spPr/>
    </dgm:pt>
    <dgm:pt modelId="{E6D0ACA2-2442-48E4-9109-330295D999C0}" type="pres">
      <dgm:prSet presAssocID="{D3E4EE82-AB82-46FF-ABE7-EC59830004FB}" presName="desTx" presStyleLbl="fgAcc1" presStyleIdx="0" presStyleCnt="3" custScaleX="119535">
        <dgm:presLayoutVars>
          <dgm:bulletEnabled val="1"/>
        </dgm:presLayoutVars>
      </dgm:prSet>
      <dgm:spPr/>
    </dgm:pt>
    <dgm:pt modelId="{FC99202E-7208-4DFC-8A1E-4542C7A76C4D}" type="pres">
      <dgm:prSet presAssocID="{9178C51E-786A-4473-B7F6-F4E0F7232220}" presName="sibTrans" presStyleLbl="sibTrans2D1" presStyleIdx="0" presStyleCnt="2"/>
      <dgm:spPr/>
    </dgm:pt>
    <dgm:pt modelId="{B93B6FA6-5D2D-4C87-8F1C-90B09500EE7D}" type="pres">
      <dgm:prSet presAssocID="{9178C51E-786A-4473-B7F6-F4E0F7232220}" presName="connTx" presStyleLbl="sibTrans2D1" presStyleIdx="0" presStyleCnt="2"/>
      <dgm:spPr/>
    </dgm:pt>
    <dgm:pt modelId="{C1416C48-3F18-4E5C-B362-9FA0A0C13614}" type="pres">
      <dgm:prSet presAssocID="{49C4ADE7-62EA-435D-80C2-74C4E1D71697}" presName="composite" presStyleCnt="0"/>
      <dgm:spPr/>
    </dgm:pt>
    <dgm:pt modelId="{5C090329-BC9F-4749-BDBA-54DD908333B2}" type="pres">
      <dgm:prSet presAssocID="{49C4ADE7-62EA-435D-80C2-74C4E1D71697}" presName="par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7E2B7FEA-8581-4729-BC02-68E29ED1E07E}" type="pres">
      <dgm:prSet presAssocID="{49C4ADE7-62EA-435D-80C2-74C4E1D71697}" presName="parSh" presStyleLbl="node1" presStyleIdx="1" presStyleCnt="3"/>
      <dgm:spPr/>
    </dgm:pt>
    <dgm:pt modelId="{4586A092-477E-40AB-9E2A-2D524518FF04}" type="pres">
      <dgm:prSet presAssocID="{49C4ADE7-62EA-435D-80C2-74C4E1D71697}" presName="desTx" presStyleLbl="fgAcc1" presStyleIdx="1" presStyleCnt="3" custScaleX="122162">
        <dgm:presLayoutVars>
          <dgm:bulletEnabled val="1"/>
        </dgm:presLayoutVars>
      </dgm:prSet>
      <dgm:spPr/>
    </dgm:pt>
    <dgm:pt modelId="{55AF1E38-7CB3-4EA2-BBA6-3A0E024DFD14}" type="pres">
      <dgm:prSet presAssocID="{16AD72EC-28B3-41E1-A631-4B24FC1A0EBD}" presName="sibTrans" presStyleLbl="sibTrans2D1" presStyleIdx="1" presStyleCnt="2"/>
      <dgm:spPr/>
    </dgm:pt>
    <dgm:pt modelId="{D5EAD2C3-7BB8-4B23-851E-E3AAF6F07BF1}" type="pres">
      <dgm:prSet presAssocID="{16AD72EC-28B3-41E1-A631-4B24FC1A0EBD}" presName="connTx" presStyleLbl="sibTrans2D1" presStyleIdx="1" presStyleCnt="2"/>
      <dgm:spPr/>
    </dgm:pt>
    <dgm:pt modelId="{CEBF5520-BCD5-43FE-A2B0-52F4A289740F}" type="pres">
      <dgm:prSet presAssocID="{FA0F5A37-4C48-462A-9B10-DB2EB0651A08}" presName="composite" presStyleCnt="0"/>
      <dgm:spPr/>
    </dgm:pt>
    <dgm:pt modelId="{EF282F65-A61D-4050-9035-3EF050E34239}" type="pres">
      <dgm:prSet presAssocID="{FA0F5A37-4C48-462A-9B10-DB2EB0651A08}" presName="parTx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A87DF6D6-737B-461D-BB15-A658B7C5F337}" type="pres">
      <dgm:prSet presAssocID="{FA0F5A37-4C48-462A-9B10-DB2EB0651A08}" presName="parSh" presStyleLbl="node1" presStyleIdx="2" presStyleCnt="3"/>
      <dgm:spPr/>
    </dgm:pt>
    <dgm:pt modelId="{129A78B8-3DAF-4E42-991E-31BB9B6811CC}" type="pres">
      <dgm:prSet presAssocID="{FA0F5A37-4C48-462A-9B10-DB2EB0651A08}" presName="desTx" presStyleLbl="fgAcc1" presStyleIdx="2" presStyleCnt="3" custScaleX="125141" custLinFactNeighborY="-291">
        <dgm:presLayoutVars>
          <dgm:bulletEnabled val="1"/>
        </dgm:presLayoutVars>
      </dgm:prSet>
      <dgm:spPr/>
    </dgm:pt>
  </dgm:ptLst>
  <dgm:cxnLst>
    <dgm:cxn modelId="{041A9902-0936-4A7B-96EE-A4BD6D2E8ACD}" type="presOf" srcId="{16AD72EC-28B3-41E1-A631-4B24FC1A0EBD}" destId="{55AF1E38-7CB3-4EA2-BBA6-3A0E024DFD14}" srcOrd="0" destOrd="0" presId="urn:microsoft.com/office/officeart/2005/8/layout/process3"/>
    <dgm:cxn modelId="{EC5E8D05-D3C7-4494-BC63-AF04C837FE69}" type="presOf" srcId="{BBA0215F-FD1A-4792-BF3C-AF3EF7052C10}" destId="{E6D0ACA2-2442-48E4-9109-330295D999C0}" srcOrd="0" destOrd="0" presId="urn:microsoft.com/office/officeart/2005/8/layout/process3"/>
    <dgm:cxn modelId="{2534D60F-C790-47AE-B26D-186F88EDEB31}" srcId="{DEBDF84B-CAF3-411A-8801-FD5BA28B77BC}" destId="{FA0F5A37-4C48-462A-9B10-DB2EB0651A08}" srcOrd="2" destOrd="0" parTransId="{30C3905E-0953-4BFA-812C-66E2DFBC641C}" sibTransId="{9BCE8DFF-84B2-4104-96DD-8EB15B44B128}"/>
    <dgm:cxn modelId="{ADC8B318-93E7-4F32-913B-4448562EDE4D}" type="presOf" srcId="{093D9D25-7EDB-4249-9FB8-40D2F95A7730}" destId="{129A78B8-3DAF-4E42-991E-31BB9B6811CC}" srcOrd="0" destOrd="0" presId="urn:microsoft.com/office/officeart/2005/8/layout/process3"/>
    <dgm:cxn modelId="{230C6219-4065-4D6E-8CAB-FBFEF53CDFED}" srcId="{49C4ADE7-62EA-435D-80C2-74C4E1D71697}" destId="{87C0FDC1-0A9C-490A-B253-1F4987E6A6C5}" srcOrd="0" destOrd="0" parTransId="{1C5C2674-7DBB-4744-96BA-8B0B034A7972}" sibTransId="{D91FC158-A977-4A5C-A775-80FF4703B5CD}"/>
    <dgm:cxn modelId="{75495926-C46E-479C-9985-4A12FA8FD926}" type="presOf" srcId="{87C0FDC1-0A9C-490A-B253-1F4987E6A6C5}" destId="{4586A092-477E-40AB-9E2A-2D524518FF04}" srcOrd="0" destOrd="0" presId="urn:microsoft.com/office/officeart/2005/8/layout/process3"/>
    <dgm:cxn modelId="{FB4ED35C-EEB0-4B0F-838F-67677375C8E1}" srcId="{D3E4EE82-AB82-46FF-ABE7-EC59830004FB}" destId="{BBA0215F-FD1A-4792-BF3C-AF3EF7052C10}" srcOrd="0" destOrd="0" parTransId="{4FA4D798-41B5-4777-9F6A-99DEE4F9FADE}" sibTransId="{B2DBC175-3DAD-4557-9A0A-018B8E844DBD}"/>
    <dgm:cxn modelId="{482B805E-655E-4E6D-B3A7-CD214046E3E7}" type="presOf" srcId="{9178C51E-786A-4473-B7F6-F4E0F7232220}" destId="{B93B6FA6-5D2D-4C87-8F1C-90B09500EE7D}" srcOrd="1" destOrd="0" presId="urn:microsoft.com/office/officeart/2005/8/layout/process3"/>
    <dgm:cxn modelId="{AE425241-C4DF-481E-B8C2-26AE889CC8C4}" type="presOf" srcId="{D3E4EE82-AB82-46FF-ABE7-EC59830004FB}" destId="{995D0582-FFDE-4A26-9204-24FC46381DF1}" srcOrd="1" destOrd="0" presId="urn:microsoft.com/office/officeart/2005/8/layout/process3"/>
    <dgm:cxn modelId="{38ABD478-7794-4D8B-B738-8711F09A374E}" srcId="{0630A372-E519-4C8B-8468-73DC769F090A}" destId="{FFBC215C-B3DC-4131-8954-612222615196}" srcOrd="0" destOrd="0" parTransId="{FF462FC5-8169-4752-9FFC-BF0A65F44ABC}" sibTransId="{39C8A32C-8A53-48DB-BDDC-9B85640B7CE0}"/>
    <dgm:cxn modelId="{03C64D5A-B613-4C94-A9F7-473452C7E90C}" type="presOf" srcId="{49C4ADE7-62EA-435D-80C2-74C4E1D71697}" destId="{7E2B7FEA-8581-4729-BC02-68E29ED1E07E}" srcOrd="1" destOrd="0" presId="urn:microsoft.com/office/officeart/2005/8/layout/process3"/>
    <dgm:cxn modelId="{49559889-D510-4814-BD2A-5A89B63A1A24}" srcId="{DEBDF84B-CAF3-411A-8801-FD5BA28B77BC}" destId="{D3E4EE82-AB82-46FF-ABE7-EC59830004FB}" srcOrd="0" destOrd="0" parTransId="{B7515A35-C94E-4BF4-A73E-46D282B7BE01}" sibTransId="{9178C51E-786A-4473-B7F6-F4E0F7232220}"/>
    <dgm:cxn modelId="{9937B98E-A3E8-47C1-A859-C381E023BA57}" type="presOf" srcId="{FA0F5A37-4C48-462A-9B10-DB2EB0651A08}" destId="{EF282F65-A61D-4050-9035-3EF050E34239}" srcOrd="0" destOrd="0" presId="urn:microsoft.com/office/officeart/2005/8/layout/process3"/>
    <dgm:cxn modelId="{21C10CA2-2167-4C46-B5A4-430AA5AFFABA}" srcId="{FA0F5A37-4C48-462A-9B10-DB2EB0651A08}" destId="{093D9D25-7EDB-4249-9FB8-40D2F95A7730}" srcOrd="0" destOrd="0" parTransId="{8C6C99D3-F6FD-4C6F-BB48-31C66B8ED4B4}" sibTransId="{232930A8-0C9B-4501-80E3-ADEBD5AA19DF}"/>
    <dgm:cxn modelId="{C22366B2-EFD1-4D9E-91EF-2CAA10C283F0}" type="presOf" srcId="{49C4ADE7-62EA-435D-80C2-74C4E1D71697}" destId="{5C090329-BC9F-4749-BDBA-54DD908333B2}" srcOrd="0" destOrd="0" presId="urn:microsoft.com/office/officeart/2005/8/layout/process3"/>
    <dgm:cxn modelId="{8299ADC0-2183-4602-804B-57381FEBE2E5}" srcId="{DEBDF84B-CAF3-411A-8801-FD5BA28B77BC}" destId="{49C4ADE7-62EA-435D-80C2-74C4E1D71697}" srcOrd="1" destOrd="0" parTransId="{8404A258-AFB7-413F-888D-8F067B562672}" sibTransId="{16AD72EC-28B3-41E1-A631-4B24FC1A0EBD}"/>
    <dgm:cxn modelId="{EB105BD0-030B-4E37-A042-0D70485DEB49}" type="presOf" srcId="{D3E4EE82-AB82-46FF-ABE7-EC59830004FB}" destId="{578693AD-086B-47DE-B937-9DB01F45BB78}" srcOrd="0" destOrd="0" presId="urn:microsoft.com/office/officeart/2005/8/layout/process3"/>
    <dgm:cxn modelId="{A63BBAD0-00E9-46E7-8C94-131B94578AD9}" type="presOf" srcId="{FFBC215C-B3DC-4131-8954-612222615196}" destId="{E6D0ACA2-2442-48E4-9109-330295D999C0}" srcOrd="0" destOrd="2" presId="urn:microsoft.com/office/officeart/2005/8/layout/process3"/>
    <dgm:cxn modelId="{D641ECE0-5162-4F2D-8B55-7794231A6BD9}" type="presOf" srcId="{9178C51E-786A-4473-B7F6-F4E0F7232220}" destId="{FC99202E-7208-4DFC-8A1E-4542C7A76C4D}" srcOrd="0" destOrd="0" presId="urn:microsoft.com/office/officeart/2005/8/layout/process3"/>
    <dgm:cxn modelId="{082C77E1-B43E-4698-A14E-03A37563283F}" type="presOf" srcId="{16AD72EC-28B3-41E1-A631-4B24FC1A0EBD}" destId="{D5EAD2C3-7BB8-4B23-851E-E3AAF6F07BF1}" srcOrd="1" destOrd="0" presId="urn:microsoft.com/office/officeart/2005/8/layout/process3"/>
    <dgm:cxn modelId="{AFC1BCE1-0988-43E7-9FFC-4F5AE74F1950}" type="presOf" srcId="{FA0F5A37-4C48-462A-9B10-DB2EB0651A08}" destId="{A87DF6D6-737B-461D-BB15-A658B7C5F337}" srcOrd="1" destOrd="0" presId="urn:microsoft.com/office/officeart/2005/8/layout/process3"/>
    <dgm:cxn modelId="{A31676E6-8DCB-49B1-9604-6506D69B4BBB}" srcId="{D3E4EE82-AB82-46FF-ABE7-EC59830004FB}" destId="{0630A372-E519-4C8B-8468-73DC769F090A}" srcOrd="1" destOrd="0" parTransId="{6AEB9104-F360-4A52-909E-A360A53EBC18}" sibTransId="{7752582C-9E01-4FCB-ADF7-AF0B29ABC33E}"/>
    <dgm:cxn modelId="{9DCCDBE8-5F4A-47B6-B3DB-F7CBDB6ECA54}" type="presOf" srcId="{DEBDF84B-CAF3-411A-8801-FD5BA28B77BC}" destId="{236EF684-A381-4F63-B54D-331558E44450}" srcOrd="0" destOrd="0" presId="urn:microsoft.com/office/officeart/2005/8/layout/process3"/>
    <dgm:cxn modelId="{CACB71F1-8D84-40CC-BB59-9EABB3576529}" type="presOf" srcId="{0630A372-E519-4C8B-8468-73DC769F090A}" destId="{E6D0ACA2-2442-48E4-9109-330295D999C0}" srcOrd="0" destOrd="1" presId="urn:microsoft.com/office/officeart/2005/8/layout/process3"/>
    <dgm:cxn modelId="{34D41FB3-C559-4B3C-999F-48A19766DAFD}" type="presParOf" srcId="{236EF684-A381-4F63-B54D-331558E44450}" destId="{882F72F8-FBD7-4F49-AAAE-D455439AB762}" srcOrd="0" destOrd="0" presId="urn:microsoft.com/office/officeart/2005/8/layout/process3"/>
    <dgm:cxn modelId="{73AA4B6E-0F21-458D-A7CA-76F9A99AE581}" type="presParOf" srcId="{882F72F8-FBD7-4F49-AAAE-D455439AB762}" destId="{578693AD-086B-47DE-B937-9DB01F45BB78}" srcOrd="0" destOrd="0" presId="urn:microsoft.com/office/officeart/2005/8/layout/process3"/>
    <dgm:cxn modelId="{3B6B8B5E-9F61-40CF-B106-48240DB44372}" type="presParOf" srcId="{882F72F8-FBD7-4F49-AAAE-D455439AB762}" destId="{995D0582-FFDE-4A26-9204-24FC46381DF1}" srcOrd="1" destOrd="0" presId="urn:microsoft.com/office/officeart/2005/8/layout/process3"/>
    <dgm:cxn modelId="{BBFE3E3A-6A01-43AE-8713-F67F85F2C396}" type="presParOf" srcId="{882F72F8-FBD7-4F49-AAAE-D455439AB762}" destId="{E6D0ACA2-2442-48E4-9109-330295D999C0}" srcOrd="2" destOrd="0" presId="urn:microsoft.com/office/officeart/2005/8/layout/process3"/>
    <dgm:cxn modelId="{B9684067-A8E9-426E-B69D-63CFF3BAF655}" type="presParOf" srcId="{236EF684-A381-4F63-B54D-331558E44450}" destId="{FC99202E-7208-4DFC-8A1E-4542C7A76C4D}" srcOrd="1" destOrd="0" presId="urn:microsoft.com/office/officeart/2005/8/layout/process3"/>
    <dgm:cxn modelId="{150E34A5-228A-4951-A666-48927E6CE119}" type="presParOf" srcId="{FC99202E-7208-4DFC-8A1E-4542C7A76C4D}" destId="{B93B6FA6-5D2D-4C87-8F1C-90B09500EE7D}" srcOrd="0" destOrd="0" presId="urn:microsoft.com/office/officeart/2005/8/layout/process3"/>
    <dgm:cxn modelId="{88026337-5173-4C82-8949-11FCEE1B3978}" type="presParOf" srcId="{236EF684-A381-4F63-B54D-331558E44450}" destId="{C1416C48-3F18-4E5C-B362-9FA0A0C13614}" srcOrd="2" destOrd="0" presId="urn:microsoft.com/office/officeart/2005/8/layout/process3"/>
    <dgm:cxn modelId="{5B627114-6BA0-44E8-8FD2-F9C41DE80074}" type="presParOf" srcId="{C1416C48-3F18-4E5C-B362-9FA0A0C13614}" destId="{5C090329-BC9F-4749-BDBA-54DD908333B2}" srcOrd="0" destOrd="0" presId="urn:microsoft.com/office/officeart/2005/8/layout/process3"/>
    <dgm:cxn modelId="{7EAD5943-0633-4D52-B398-89DEEC204513}" type="presParOf" srcId="{C1416C48-3F18-4E5C-B362-9FA0A0C13614}" destId="{7E2B7FEA-8581-4729-BC02-68E29ED1E07E}" srcOrd="1" destOrd="0" presId="urn:microsoft.com/office/officeart/2005/8/layout/process3"/>
    <dgm:cxn modelId="{C33F8050-63D9-457B-AB0C-A07652E38B08}" type="presParOf" srcId="{C1416C48-3F18-4E5C-B362-9FA0A0C13614}" destId="{4586A092-477E-40AB-9E2A-2D524518FF04}" srcOrd="2" destOrd="0" presId="urn:microsoft.com/office/officeart/2005/8/layout/process3"/>
    <dgm:cxn modelId="{10267C22-431F-425B-B7D2-62C078134840}" type="presParOf" srcId="{236EF684-A381-4F63-B54D-331558E44450}" destId="{55AF1E38-7CB3-4EA2-BBA6-3A0E024DFD14}" srcOrd="3" destOrd="0" presId="urn:microsoft.com/office/officeart/2005/8/layout/process3"/>
    <dgm:cxn modelId="{ECB229E4-EB59-41B5-9BB3-CA78E2220DA6}" type="presParOf" srcId="{55AF1E38-7CB3-4EA2-BBA6-3A0E024DFD14}" destId="{D5EAD2C3-7BB8-4B23-851E-E3AAF6F07BF1}" srcOrd="0" destOrd="0" presId="urn:microsoft.com/office/officeart/2005/8/layout/process3"/>
    <dgm:cxn modelId="{2EEC45E7-F243-4D47-9209-03D8022464DE}" type="presParOf" srcId="{236EF684-A381-4F63-B54D-331558E44450}" destId="{CEBF5520-BCD5-43FE-A2B0-52F4A289740F}" srcOrd="4" destOrd="0" presId="urn:microsoft.com/office/officeart/2005/8/layout/process3"/>
    <dgm:cxn modelId="{A67FEF80-FD40-4AF3-9C74-5078666E8083}" type="presParOf" srcId="{CEBF5520-BCD5-43FE-A2B0-52F4A289740F}" destId="{EF282F65-A61D-4050-9035-3EF050E34239}" srcOrd="0" destOrd="0" presId="urn:microsoft.com/office/officeart/2005/8/layout/process3"/>
    <dgm:cxn modelId="{8C66BD87-F382-4B39-8570-3AC06080C8C7}" type="presParOf" srcId="{CEBF5520-BCD5-43FE-A2B0-52F4A289740F}" destId="{A87DF6D6-737B-461D-BB15-A658B7C5F337}" srcOrd="1" destOrd="0" presId="urn:microsoft.com/office/officeart/2005/8/layout/process3"/>
    <dgm:cxn modelId="{21223C04-FD22-4DED-B77E-701754A4E5F3}" type="presParOf" srcId="{CEBF5520-BCD5-43FE-A2B0-52F4A289740F}" destId="{129A78B8-3DAF-4E42-991E-31BB9B6811CC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458D226-E942-41C5-B44D-036A5C70B5A0}" type="doc">
      <dgm:prSet loTypeId="urn:microsoft.com/office/officeart/2005/8/layout/default" loCatId="list" qsTypeId="urn:microsoft.com/office/officeart/2005/8/quickstyle/simple5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DD7378D5-960E-4AF2-9057-44BB2FB7C2A0}">
      <dgm:prSet/>
      <dgm:spPr/>
      <dgm:t>
        <a:bodyPr/>
        <a:lstStyle/>
        <a:p>
          <a:r>
            <a:rPr lang="en-GB" b="0" i="0" dirty="0"/>
            <a:t>Digital Technology Solutions</a:t>
          </a:r>
          <a:endParaRPr lang="en-US" dirty="0"/>
        </a:p>
      </dgm:t>
    </dgm:pt>
    <dgm:pt modelId="{2019803C-F636-416F-A60E-93294DB8EDB1}" type="parTrans" cxnId="{56156AF7-6302-40CA-9D20-91D294B08E02}">
      <dgm:prSet/>
      <dgm:spPr/>
      <dgm:t>
        <a:bodyPr/>
        <a:lstStyle/>
        <a:p>
          <a:endParaRPr lang="en-US"/>
        </a:p>
      </dgm:t>
    </dgm:pt>
    <dgm:pt modelId="{4D83637F-D811-4628-9B8E-A4ADBADB5531}" type="sibTrans" cxnId="{56156AF7-6302-40CA-9D20-91D294B08E02}">
      <dgm:prSet/>
      <dgm:spPr/>
      <dgm:t>
        <a:bodyPr/>
        <a:lstStyle/>
        <a:p>
          <a:endParaRPr lang="en-US"/>
        </a:p>
      </dgm:t>
    </dgm:pt>
    <dgm:pt modelId="{7258E898-0F3E-4AB8-BC49-7120EBCC06C2}">
      <dgm:prSet/>
      <dgm:spPr/>
      <dgm:t>
        <a:bodyPr/>
        <a:lstStyle/>
        <a:p>
          <a:r>
            <a:rPr lang="en-GB" b="0" i="0"/>
            <a:t>Scientific</a:t>
          </a:r>
          <a:endParaRPr lang="en-US"/>
        </a:p>
      </dgm:t>
    </dgm:pt>
    <dgm:pt modelId="{1E67595C-5735-461D-96E2-1ACA6385CBA4}" type="parTrans" cxnId="{3DA82209-879F-4D53-BE29-52E1EB6152C8}">
      <dgm:prSet/>
      <dgm:spPr/>
      <dgm:t>
        <a:bodyPr/>
        <a:lstStyle/>
        <a:p>
          <a:endParaRPr lang="en-US"/>
        </a:p>
      </dgm:t>
    </dgm:pt>
    <dgm:pt modelId="{FC4C0E6C-7F8D-49DE-ABF5-61CD7A87BF34}" type="sibTrans" cxnId="{3DA82209-879F-4D53-BE29-52E1EB6152C8}">
      <dgm:prSet/>
      <dgm:spPr/>
      <dgm:t>
        <a:bodyPr/>
        <a:lstStyle/>
        <a:p>
          <a:endParaRPr lang="en-US"/>
        </a:p>
      </dgm:t>
    </dgm:pt>
    <dgm:pt modelId="{005FEA10-D2C5-417B-A9B2-3620F1381999}">
      <dgm:prSet/>
      <dgm:spPr/>
      <dgm:t>
        <a:bodyPr/>
        <a:lstStyle/>
        <a:p>
          <a:r>
            <a:rPr lang="en-GB" b="0" i="0"/>
            <a:t>Technical</a:t>
          </a:r>
          <a:endParaRPr lang="en-US"/>
        </a:p>
      </dgm:t>
    </dgm:pt>
    <dgm:pt modelId="{88FB58E2-290A-4124-A0AB-FC2CE8CE141E}" type="parTrans" cxnId="{72352253-3270-48DA-B8EC-6A044F183E0A}">
      <dgm:prSet/>
      <dgm:spPr/>
      <dgm:t>
        <a:bodyPr/>
        <a:lstStyle/>
        <a:p>
          <a:endParaRPr lang="en-US"/>
        </a:p>
      </dgm:t>
    </dgm:pt>
    <dgm:pt modelId="{A42D9819-BF83-4B43-8B9D-34732320C82A}" type="sibTrans" cxnId="{72352253-3270-48DA-B8EC-6A044F183E0A}">
      <dgm:prSet/>
      <dgm:spPr/>
      <dgm:t>
        <a:bodyPr/>
        <a:lstStyle/>
        <a:p>
          <a:endParaRPr lang="en-US"/>
        </a:p>
      </dgm:t>
    </dgm:pt>
    <dgm:pt modelId="{81ECC0B4-B045-4CD8-897C-ABDEB6CB9FFE}">
      <dgm:prSet/>
      <dgm:spPr/>
      <dgm:t>
        <a:bodyPr/>
        <a:lstStyle/>
        <a:p>
          <a:r>
            <a:rPr lang="en-GB" b="0" i="0"/>
            <a:t>Quality</a:t>
          </a:r>
          <a:endParaRPr lang="en-US"/>
        </a:p>
      </dgm:t>
    </dgm:pt>
    <dgm:pt modelId="{EE5171E0-E408-4356-BB9E-664571FEF966}" type="parTrans" cxnId="{FC8909DB-2CDA-44B9-AB53-46F6978BE9AB}">
      <dgm:prSet/>
      <dgm:spPr/>
      <dgm:t>
        <a:bodyPr/>
        <a:lstStyle/>
        <a:p>
          <a:endParaRPr lang="en-US"/>
        </a:p>
      </dgm:t>
    </dgm:pt>
    <dgm:pt modelId="{50ED9B39-35FB-4A3E-B4A0-A17A6CDE9AB4}" type="sibTrans" cxnId="{FC8909DB-2CDA-44B9-AB53-46F6978BE9AB}">
      <dgm:prSet/>
      <dgm:spPr/>
      <dgm:t>
        <a:bodyPr/>
        <a:lstStyle/>
        <a:p>
          <a:endParaRPr lang="en-US"/>
        </a:p>
      </dgm:t>
    </dgm:pt>
    <dgm:pt modelId="{B87DAE78-5AC6-41F1-A7B9-CF66476AE7E1}">
      <dgm:prSet/>
      <dgm:spPr/>
      <dgm:t>
        <a:bodyPr/>
        <a:lstStyle/>
        <a:p>
          <a:r>
            <a:rPr lang="en-GB" b="0" i="0"/>
            <a:t>Construction</a:t>
          </a:r>
          <a:endParaRPr lang="en-US"/>
        </a:p>
      </dgm:t>
    </dgm:pt>
    <dgm:pt modelId="{5B89F4C4-090C-4A10-B3BD-1A150FBCE8E0}" type="parTrans" cxnId="{7C0E67B4-5025-40D5-9E92-B4CF6C9D5A54}">
      <dgm:prSet/>
      <dgm:spPr/>
      <dgm:t>
        <a:bodyPr/>
        <a:lstStyle/>
        <a:p>
          <a:endParaRPr lang="en-US"/>
        </a:p>
      </dgm:t>
    </dgm:pt>
    <dgm:pt modelId="{38A29F50-042A-4972-BFDA-9A227965C65A}" type="sibTrans" cxnId="{7C0E67B4-5025-40D5-9E92-B4CF6C9D5A54}">
      <dgm:prSet/>
      <dgm:spPr/>
      <dgm:t>
        <a:bodyPr/>
        <a:lstStyle/>
        <a:p>
          <a:endParaRPr lang="en-US"/>
        </a:p>
      </dgm:t>
    </dgm:pt>
    <dgm:pt modelId="{0E68DD34-58A5-4497-A0BD-EA6AF2112314}">
      <dgm:prSet/>
      <dgm:spPr/>
      <dgm:t>
        <a:bodyPr/>
        <a:lstStyle/>
        <a:p>
          <a:r>
            <a:rPr lang="en-GB" b="0" i="0"/>
            <a:t>Commissioning</a:t>
          </a:r>
          <a:endParaRPr lang="en-US"/>
        </a:p>
      </dgm:t>
    </dgm:pt>
    <dgm:pt modelId="{485D82DC-A47C-43EE-8D3F-9A5A2305BC0F}" type="parTrans" cxnId="{4481B689-EB17-43F3-A89A-4B353207E278}">
      <dgm:prSet/>
      <dgm:spPr/>
      <dgm:t>
        <a:bodyPr/>
        <a:lstStyle/>
        <a:p>
          <a:endParaRPr lang="en-US"/>
        </a:p>
      </dgm:t>
    </dgm:pt>
    <dgm:pt modelId="{682D3C81-38E7-4A8D-8BE6-159BD37F3993}" type="sibTrans" cxnId="{4481B689-EB17-43F3-A89A-4B353207E278}">
      <dgm:prSet/>
      <dgm:spPr/>
      <dgm:t>
        <a:bodyPr/>
        <a:lstStyle/>
        <a:p>
          <a:endParaRPr lang="en-US"/>
        </a:p>
      </dgm:t>
    </dgm:pt>
    <dgm:pt modelId="{64F213C2-26B0-470E-8EDF-BCED71797E95}">
      <dgm:prSet/>
      <dgm:spPr/>
      <dgm:t>
        <a:bodyPr/>
        <a:lstStyle/>
        <a:p>
          <a:r>
            <a:rPr lang="en-GB" b="0" i="0" dirty="0"/>
            <a:t>Civil Asset Management</a:t>
          </a:r>
          <a:endParaRPr lang="en-US" dirty="0"/>
        </a:p>
      </dgm:t>
    </dgm:pt>
    <dgm:pt modelId="{CB5D9A7C-A7F2-4F4D-A60F-7166E5105CF8}" type="parTrans" cxnId="{1B8B8F1A-8F6D-416B-A6C0-F76887DA69D6}">
      <dgm:prSet/>
      <dgm:spPr/>
      <dgm:t>
        <a:bodyPr/>
        <a:lstStyle/>
        <a:p>
          <a:endParaRPr lang="en-US"/>
        </a:p>
      </dgm:t>
    </dgm:pt>
    <dgm:pt modelId="{47C14E85-02A0-4057-8775-4A626D863CE5}" type="sibTrans" cxnId="{1B8B8F1A-8F6D-416B-A6C0-F76887DA69D6}">
      <dgm:prSet/>
      <dgm:spPr/>
      <dgm:t>
        <a:bodyPr/>
        <a:lstStyle/>
        <a:p>
          <a:endParaRPr lang="en-US"/>
        </a:p>
      </dgm:t>
    </dgm:pt>
    <dgm:pt modelId="{0757B983-1F01-486A-95E5-DDFC28057B69}">
      <dgm:prSet/>
      <dgm:spPr/>
      <dgm:t>
        <a:bodyPr/>
        <a:lstStyle/>
        <a:p>
          <a:r>
            <a:rPr lang="en-GB" b="0" i="0"/>
            <a:t>Project Management</a:t>
          </a:r>
          <a:endParaRPr lang="en-US"/>
        </a:p>
      </dgm:t>
    </dgm:pt>
    <dgm:pt modelId="{1172C09A-2602-400A-B5D1-C7A1155E38B8}" type="parTrans" cxnId="{175855A5-A8FC-4EBD-8D83-6402D467771B}">
      <dgm:prSet/>
      <dgm:spPr/>
      <dgm:t>
        <a:bodyPr/>
        <a:lstStyle/>
        <a:p>
          <a:endParaRPr lang="en-US"/>
        </a:p>
      </dgm:t>
    </dgm:pt>
    <dgm:pt modelId="{01462F5D-B351-4F06-83BD-521E27BB59EA}" type="sibTrans" cxnId="{175855A5-A8FC-4EBD-8D83-6402D467771B}">
      <dgm:prSet/>
      <dgm:spPr/>
      <dgm:t>
        <a:bodyPr/>
        <a:lstStyle/>
        <a:p>
          <a:endParaRPr lang="en-US"/>
        </a:p>
      </dgm:t>
    </dgm:pt>
    <dgm:pt modelId="{D2E57D08-D4F5-41DF-B091-3C8F5535DF56}">
      <dgm:prSet/>
      <dgm:spPr/>
      <dgm:t>
        <a:bodyPr/>
        <a:lstStyle/>
        <a:p>
          <a:r>
            <a:rPr lang="en-GB" b="0" i="0"/>
            <a:t>Operations</a:t>
          </a:r>
          <a:endParaRPr lang="en-US"/>
        </a:p>
      </dgm:t>
    </dgm:pt>
    <dgm:pt modelId="{095705BB-C929-48A9-AF16-777498E5C93A}" type="parTrans" cxnId="{7497622A-19EB-4E46-882D-1C3A540E4337}">
      <dgm:prSet/>
      <dgm:spPr/>
      <dgm:t>
        <a:bodyPr/>
        <a:lstStyle/>
        <a:p>
          <a:endParaRPr lang="en-US"/>
        </a:p>
      </dgm:t>
    </dgm:pt>
    <dgm:pt modelId="{8DFBE015-2936-452B-ADC6-3C577243951E}" type="sibTrans" cxnId="{7497622A-19EB-4E46-882D-1C3A540E4337}">
      <dgm:prSet/>
      <dgm:spPr/>
      <dgm:t>
        <a:bodyPr/>
        <a:lstStyle/>
        <a:p>
          <a:endParaRPr lang="en-US"/>
        </a:p>
      </dgm:t>
    </dgm:pt>
    <dgm:pt modelId="{89EEB868-E7F1-49C6-B280-D36893229A61}">
      <dgm:prSet/>
      <dgm:spPr/>
      <dgm:t>
        <a:bodyPr/>
        <a:lstStyle/>
        <a:p>
          <a:r>
            <a:rPr lang="en-GB" b="0" i="0" dirty="0"/>
            <a:t>Plant Engineering</a:t>
          </a:r>
          <a:endParaRPr lang="en-US" dirty="0"/>
        </a:p>
      </dgm:t>
    </dgm:pt>
    <dgm:pt modelId="{3E83ACE0-3A63-44C6-A8EB-75AD7A92F71E}" type="parTrans" cxnId="{7D6DCB0D-4477-400A-8270-EB0203C33AAD}">
      <dgm:prSet/>
      <dgm:spPr/>
      <dgm:t>
        <a:bodyPr/>
        <a:lstStyle/>
        <a:p>
          <a:endParaRPr lang="en-US"/>
        </a:p>
      </dgm:t>
    </dgm:pt>
    <dgm:pt modelId="{031F009D-C876-4816-AF7E-8D103968D695}" type="sibTrans" cxnId="{7D6DCB0D-4477-400A-8270-EB0203C33AAD}">
      <dgm:prSet/>
      <dgm:spPr/>
      <dgm:t>
        <a:bodyPr/>
        <a:lstStyle/>
        <a:p>
          <a:endParaRPr lang="en-US"/>
        </a:p>
      </dgm:t>
    </dgm:pt>
    <dgm:pt modelId="{BBEB2079-07EC-405F-95E7-5C5E437C43D7}">
      <dgm:prSet/>
      <dgm:spPr/>
      <dgm:t>
        <a:bodyPr/>
        <a:lstStyle/>
        <a:p>
          <a:r>
            <a:rPr lang="en-GB" b="0" i="0"/>
            <a:t>Control Systems</a:t>
          </a:r>
          <a:endParaRPr lang="en-US"/>
        </a:p>
      </dgm:t>
    </dgm:pt>
    <dgm:pt modelId="{699F7278-F1D0-42DA-9160-6E7D9573996C}" type="parTrans" cxnId="{2CD16F47-AD1B-4BA8-955D-33DEC348BBBF}">
      <dgm:prSet/>
      <dgm:spPr/>
      <dgm:t>
        <a:bodyPr/>
        <a:lstStyle/>
        <a:p>
          <a:endParaRPr lang="en-US"/>
        </a:p>
      </dgm:t>
    </dgm:pt>
    <dgm:pt modelId="{651F083B-5C4D-4A96-9696-F7FB55F936E5}" type="sibTrans" cxnId="{2CD16F47-AD1B-4BA8-955D-33DEC348BBBF}">
      <dgm:prSet/>
      <dgm:spPr/>
      <dgm:t>
        <a:bodyPr/>
        <a:lstStyle/>
        <a:p>
          <a:endParaRPr lang="en-US"/>
        </a:p>
      </dgm:t>
    </dgm:pt>
    <dgm:pt modelId="{53D0F7EC-63F4-40EF-AA16-60713FE81778}">
      <dgm:prSet/>
      <dgm:spPr/>
      <dgm:t>
        <a:bodyPr/>
        <a:lstStyle/>
        <a:p>
          <a:r>
            <a:rPr lang="en-GB" b="0" i="0" dirty="0"/>
            <a:t>Safety Case</a:t>
          </a:r>
          <a:endParaRPr lang="en-US" dirty="0"/>
        </a:p>
      </dgm:t>
    </dgm:pt>
    <dgm:pt modelId="{7348C683-E7C5-495C-AF70-2FF8CC26E087}" type="parTrans" cxnId="{87722691-3513-490C-9556-581E23ADDDE1}">
      <dgm:prSet/>
      <dgm:spPr/>
      <dgm:t>
        <a:bodyPr/>
        <a:lstStyle/>
        <a:p>
          <a:endParaRPr lang="en-US"/>
        </a:p>
      </dgm:t>
    </dgm:pt>
    <dgm:pt modelId="{65D4317C-2445-4F79-86B4-FD0563278018}" type="sibTrans" cxnId="{87722691-3513-490C-9556-581E23ADDDE1}">
      <dgm:prSet/>
      <dgm:spPr/>
      <dgm:t>
        <a:bodyPr/>
        <a:lstStyle/>
        <a:p>
          <a:endParaRPr lang="en-US"/>
        </a:p>
      </dgm:t>
    </dgm:pt>
    <dgm:pt modelId="{9EC628B7-72BE-4669-9B38-D4F45BB38FBE}">
      <dgm:prSet/>
      <dgm:spPr/>
      <dgm:t>
        <a:bodyPr/>
        <a:lstStyle/>
        <a:p>
          <a:r>
            <a:rPr lang="en-US" dirty="0"/>
            <a:t>Engineering Design</a:t>
          </a:r>
        </a:p>
      </dgm:t>
    </dgm:pt>
    <dgm:pt modelId="{B987ED45-0C3A-49C1-BEE1-025804A188A3}" type="parTrans" cxnId="{5DBFBD8D-9248-421A-A982-AD772217302D}">
      <dgm:prSet/>
      <dgm:spPr/>
      <dgm:t>
        <a:bodyPr/>
        <a:lstStyle/>
        <a:p>
          <a:endParaRPr lang="en-GB"/>
        </a:p>
      </dgm:t>
    </dgm:pt>
    <dgm:pt modelId="{B8A64AC1-1BA2-441C-B25D-0684E2A4E070}" type="sibTrans" cxnId="{5DBFBD8D-9248-421A-A982-AD772217302D}">
      <dgm:prSet/>
      <dgm:spPr/>
      <dgm:t>
        <a:bodyPr/>
        <a:lstStyle/>
        <a:p>
          <a:endParaRPr lang="en-GB"/>
        </a:p>
      </dgm:t>
    </dgm:pt>
    <dgm:pt modelId="{D1129557-E449-429E-83F2-718A0544F879}" type="pres">
      <dgm:prSet presAssocID="{5458D226-E942-41C5-B44D-036A5C70B5A0}" presName="diagram" presStyleCnt="0">
        <dgm:presLayoutVars>
          <dgm:dir/>
          <dgm:resizeHandles val="exact"/>
        </dgm:presLayoutVars>
      </dgm:prSet>
      <dgm:spPr/>
    </dgm:pt>
    <dgm:pt modelId="{EB8217F1-BCE4-46AC-ABB1-08C807EF9B7E}" type="pres">
      <dgm:prSet presAssocID="{DD7378D5-960E-4AF2-9057-44BB2FB7C2A0}" presName="node" presStyleLbl="node1" presStyleIdx="0" presStyleCnt="13">
        <dgm:presLayoutVars>
          <dgm:bulletEnabled val="1"/>
        </dgm:presLayoutVars>
      </dgm:prSet>
      <dgm:spPr/>
    </dgm:pt>
    <dgm:pt modelId="{322658E3-FAE5-4677-97C0-D9E8AE7D9A29}" type="pres">
      <dgm:prSet presAssocID="{4D83637F-D811-4628-9B8E-A4ADBADB5531}" presName="sibTrans" presStyleCnt="0"/>
      <dgm:spPr/>
    </dgm:pt>
    <dgm:pt modelId="{888935CE-C712-467D-8538-FADC2185D8DD}" type="pres">
      <dgm:prSet presAssocID="{7258E898-0F3E-4AB8-BC49-7120EBCC06C2}" presName="node" presStyleLbl="node1" presStyleIdx="1" presStyleCnt="13">
        <dgm:presLayoutVars>
          <dgm:bulletEnabled val="1"/>
        </dgm:presLayoutVars>
      </dgm:prSet>
      <dgm:spPr/>
    </dgm:pt>
    <dgm:pt modelId="{5E74EAD6-50D3-44FA-93FF-063B2B8E9120}" type="pres">
      <dgm:prSet presAssocID="{FC4C0E6C-7F8D-49DE-ABF5-61CD7A87BF34}" presName="sibTrans" presStyleCnt="0"/>
      <dgm:spPr/>
    </dgm:pt>
    <dgm:pt modelId="{DD7F73C7-5612-4F87-AB77-7D75B42FBF18}" type="pres">
      <dgm:prSet presAssocID="{005FEA10-D2C5-417B-A9B2-3620F1381999}" presName="node" presStyleLbl="node1" presStyleIdx="2" presStyleCnt="13">
        <dgm:presLayoutVars>
          <dgm:bulletEnabled val="1"/>
        </dgm:presLayoutVars>
      </dgm:prSet>
      <dgm:spPr/>
    </dgm:pt>
    <dgm:pt modelId="{05203EF7-574B-4CBF-BB71-3407C83BC688}" type="pres">
      <dgm:prSet presAssocID="{A42D9819-BF83-4B43-8B9D-34732320C82A}" presName="sibTrans" presStyleCnt="0"/>
      <dgm:spPr/>
    </dgm:pt>
    <dgm:pt modelId="{6768D424-C474-4AB8-B676-90D93D858CBA}" type="pres">
      <dgm:prSet presAssocID="{81ECC0B4-B045-4CD8-897C-ABDEB6CB9FFE}" presName="node" presStyleLbl="node1" presStyleIdx="3" presStyleCnt="13">
        <dgm:presLayoutVars>
          <dgm:bulletEnabled val="1"/>
        </dgm:presLayoutVars>
      </dgm:prSet>
      <dgm:spPr/>
    </dgm:pt>
    <dgm:pt modelId="{BEDC29C9-3C7E-4CBB-98A2-CA2F53467235}" type="pres">
      <dgm:prSet presAssocID="{50ED9B39-35FB-4A3E-B4A0-A17A6CDE9AB4}" presName="sibTrans" presStyleCnt="0"/>
      <dgm:spPr/>
    </dgm:pt>
    <dgm:pt modelId="{395BE085-F473-4002-818D-1D01BEE4ADC0}" type="pres">
      <dgm:prSet presAssocID="{B87DAE78-5AC6-41F1-A7B9-CF66476AE7E1}" presName="node" presStyleLbl="node1" presStyleIdx="4" presStyleCnt="13">
        <dgm:presLayoutVars>
          <dgm:bulletEnabled val="1"/>
        </dgm:presLayoutVars>
      </dgm:prSet>
      <dgm:spPr/>
    </dgm:pt>
    <dgm:pt modelId="{B7C50AE2-F3D0-4A84-A6C0-10C492187D4B}" type="pres">
      <dgm:prSet presAssocID="{38A29F50-042A-4972-BFDA-9A227965C65A}" presName="sibTrans" presStyleCnt="0"/>
      <dgm:spPr/>
    </dgm:pt>
    <dgm:pt modelId="{26CB900D-91E1-4613-A6DD-CBC38E0865E9}" type="pres">
      <dgm:prSet presAssocID="{0E68DD34-58A5-4497-A0BD-EA6AF2112314}" presName="node" presStyleLbl="node1" presStyleIdx="5" presStyleCnt="13">
        <dgm:presLayoutVars>
          <dgm:bulletEnabled val="1"/>
        </dgm:presLayoutVars>
      </dgm:prSet>
      <dgm:spPr/>
    </dgm:pt>
    <dgm:pt modelId="{7ABF8571-B1AC-4D5B-A5C3-5485179BAA42}" type="pres">
      <dgm:prSet presAssocID="{682D3C81-38E7-4A8D-8BE6-159BD37F3993}" presName="sibTrans" presStyleCnt="0"/>
      <dgm:spPr/>
    </dgm:pt>
    <dgm:pt modelId="{70F45BE7-A148-4577-B2C8-A2C1F5F8D125}" type="pres">
      <dgm:prSet presAssocID="{64F213C2-26B0-470E-8EDF-BCED71797E95}" presName="node" presStyleLbl="node1" presStyleIdx="6" presStyleCnt="13">
        <dgm:presLayoutVars>
          <dgm:bulletEnabled val="1"/>
        </dgm:presLayoutVars>
      </dgm:prSet>
      <dgm:spPr/>
    </dgm:pt>
    <dgm:pt modelId="{2C99492A-E81E-40E2-B948-B08AE085BD69}" type="pres">
      <dgm:prSet presAssocID="{47C14E85-02A0-4057-8775-4A626D863CE5}" presName="sibTrans" presStyleCnt="0"/>
      <dgm:spPr/>
    </dgm:pt>
    <dgm:pt modelId="{513927A5-2D5C-4D73-976A-3B0BFE3FFA22}" type="pres">
      <dgm:prSet presAssocID="{0757B983-1F01-486A-95E5-DDFC28057B69}" presName="node" presStyleLbl="node1" presStyleIdx="7" presStyleCnt="13">
        <dgm:presLayoutVars>
          <dgm:bulletEnabled val="1"/>
        </dgm:presLayoutVars>
      </dgm:prSet>
      <dgm:spPr/>
    </dgm:pt>
    <dgm:pt modelId="{8E3F2322-8890-4702-9EE8-11B5FCF4D028}" type="pres">
      <dgm:prSet presAssocID="{01462F5D-B351-4F06-83BD-521E27BB59EA}" presName="sibTrans" presStyleCnt="0"/>
      <dgm:spPr/>
    </dgm:pt>
    <dgm:pt modelId="{0E4C2690-424C-4930-B89B-BFE71F1997FE}" type="pres">
      <dgm:prSet presAssocID="{D2E57D08-D4F5-41DF-B091-3C8F5535DF56}" presName="node" presStyleLbl="node1" presStyleIdx="8" presStyleCnt="13">
        <dgm:presLayoutVars>
          <dgm:bulletEnabled val="1"/>
        </dgm:presLayoutVars>
      </dgm:prSet>
      <dgm:spPr/>
    </dgm:pt>
    <dgm:pt modelId="{1DAC9F2B-4F9D-4DF3-A0E1-1ED8262FF94C}" type="pres">
      <dgm:prSet presAssocID="{8DFBE015-2936-452B-ADC6-3C577243951E}" presName="sibTrans" presStyleCnt="0"/>
      <dgm:spPr/>
    </dgm:pt>
    <dgm:pt modelId="{D8195489-364B-4DC5-9674-44352B7DDF7D}" type="pres">
      <dgm:prSet presAssocID="{89EEB868-E7F1-49C6-B280-D36893229A61}" presName="node" presStyleLbl="node1" presStyleIdx="9" presStyleCnt="13">
        <dgm:presLayoutVars>
          <dgm:bulletEnabled val="1"/>
        </dgm:presLayoutVars>
      </dgm:prSet>
      <dgm:spPr/>
    </dgm:pt>
    <dgm:pt modelId="{161DFDDE-E7B6-4EFD-B875-9B51F1C78075}" type="pres">
      <dgm:prSet presAssocID="{031F009D-C876-4816-AF7E-8D103968D695}" presName="sibTrans" presStyleCnt="0"/>
      <dgm:spPr/>
    </dgm:pt>
    <dgm:pt modelId="{9083F1B6-5A0B-4BDA-9AA2-3A2F2DCC1E11}" type="pres">
      <dgm:prSet presAssocID="{BBEB2079-07EC-405F-95E7-5C5E437C43D7}" presName="node" presStyleLbl="node1" presStyleIdx="10" presStyleCnt="13">
        <dgm:presLayoutVars>
          <dgm:bulletEnabled val="1"/>
        </dgm:presLayoutVars>
      </dgm:prSet>
      <dgm:spPr/>
    </dgm:pt>
    <dgm:pt modelId="{92F90E1A-894A-475B-BDB9-68F93371C999}" type="pres">
      <dgm:prSet presAssocID="{651F083B-5C4D-4A96-9696-F7FB55F936E5}" presName="sibTrans" presStyleCnt="0"/>
      <dgm:spPr/>
    </dgm:pt>
    <dgm:pt modelId="{ACBC029B-8330-41F1-A55D-E94E7247CFC8}" type="pres">
      <dgm:prSet presAssocID="{53D0F7EC-63F4-40EF-AA16-60713FE81778}" presName="node" presStyleLbl="node1" presStyleIdx="11" presStyleCnt="13">
        <dgm:presLayoutVars>
          <dgm:bulletEnabled val="1"/>
        </dgm:presLayoutVars>
      </dgm:prSet>
      <dgm:spPr/>
    </dgm:pt>
    <dgm:pt modelId="{EE486E70-A9C0-469F-BCF9-0B9C7F2D811A}" type="pres">
      <dgm:prSet presAssocID="{65D4317C-2445-4F79-86B4-FD0563278018}" presName="sibTrans" presStyleCnt="0"/>
      <dgm:spPr/>
    </dgm:pt>
    <dgm:pt modelId="{0F8D621F-4C01-4970-AD08-74700E260163}" type="pres">
      <dgm:prSet presAssocID="{9EC628B7-72BE-4669-9B38-D4F45BB38FBE}" presName="node" presStyleLbl="node1" presStyleIdx="12" presStyleCnt="13">
        <dgm:presLayoutVars>
          <dgm:bulletEnabled val="1"/>
        </dgm:presLayoutVars>
      </dgm:prSet>
      <dgm:spPr/>
    </dgm:pt>
  </dgm:ptLst>
  <dgm:cxnLst>
    <dgm:cxn modelId="{3DA82209-879F-4D53-BE29-52E1EB6152C8}" srcId="{5458D226-E942-41C5-B44D-036A5C70B5A0}" destId="{7258E898-0F3E-4AB8-BC49-7120EBCC06C2}" srcOrd="1" destOrd="0" parTransId="{1E67595C-5735-461D-96E2-1ACA6385CBA4}" sibTransId="{FC4C0E6C-7F8D-49DE-ABF5-61CD7A87BF34}"/>
    <dgm:cxn modelId="{79329B09-600F-41B1-B1EA-1F374E00D223}" type="presOf" srcId="{B87DAE78-5AC6-41F1-A7B9-CF66476AE7E1}" destId="{395BE085-F473-4002-818D-1D01BEE4ADC0}" srcOrd="0" destOrd="0" presId="urn:microsoft.com/office/officeart/2005/8/layout/default"/>
    <dgm:cxn modelId="{7D6DCB0D-4477-400A-8270-EB0203C33AAD}" srcId="{5458D226-E942-41C5-B44D-036A5C70B5A0}" destId="{89EEB868-E7F1-49C6-B280-D36893229A61}" srcOrd="9" destOrd="0" parTransId="{3E83ACE0-3A63-44C6-A8EB-75AD7A92F71E}" sibTransId="{031F009D-C876-4816-AF7E-8D103968D695}"/>
    <dgm:cxn modelId="{E613DD0D-9589-42DC-854F-284A8E57B06D}" type="presOf" srcId="{7258E898-0F3E-4AB8-BC49-7120EBCC06C2}" destId="{888935CE-C712-467D-8538-FADC2185D8DD}" srcOrd="0" destOrd="0" presId="urn:microsoft.com/office/officeart/2005/8/layout/default"/>
    <dgm:cxn modelId="{6EB3F70D-F61A-4C9E-AD5C-D12750100BEF}" type="presOf" srcId="{5458D226-E942-41C5-B44D-036A5C70B5A0}" destId="{D1129557-E449-429E-83F2-718A0544F879}" srcOrd="0" destOrd="0" presId="urn:microsoft.com/office/officeart/2005/8/layout/default"/>
    <dgm:cxn modelId="{1B8B8F1A-8F6D-416B-A6C0-F76887DA69D6}" srcId="{5458D226-E942-41C5-B44D-036A5C70B5A0}" destId="{64F213C2-26B0-470E-8EDF-BCED71797E95}" srcOrd="6" destOrd="0" parTransId="{CB5D9A7C-A7F2-4F4D-A60F-7166E5105CF8}" sibTransId="{47C14E85-02A0-4057-8775-4A626D863CE5}"/>
    <dgm:cxn modelId="{7497622A-19EB-4E46-882D-1C3A540E4337}" srcId="{5458D226-E942-41C5-B44D-036A5C70B5A0}" destId="{D2E57D08-D4F5-41DF-B091-3C8F5535DF56}" srcOrd="8" destOrd="0" parTransId="{095705BB-C929-48A9-AF16-777498E5C93A}" sibTransId="{8DFBE015-2936-452B-ADC6-3C577243951E}"/>
    <dgm:cxn modelId="{2CD16F47-AD1B-4BA8-955D-33DEC348BBBF}" srcId="{5458D226-E942-41C5-B44D-036A5C70B5A0}" destId="{BBEB2079-07EC-405F-95E7-5C5E437C43D7}" srcOrd="10" destOrd="0" parTransId="{699F7278-F1D0-42DA-9160-6E7D9573996C}" sibTransId="{651F083B-5C4D-4A96-9696-F7FB55F936E5}"/>
    <dgm:cxn modelId="{598BAF67-5A9E-4558-B70D-1BA1768C720B}" type="presOf" srcId="{BBEB2079-07EC-405F-95E7-5C5E437C43D7}" destId="{9083F1B6-5A0B-4BDA-9AA2-3A2F2DCC1E11}" srcOrd="0" destOrd="0" presId="urn:microsoft.com/office/officeart/2005/8/layout/default"/>
    <dgm:cxn modelId="{72352253-3270-48DA-B8EC-6A044F183E0A}" srcId="{5458D226-E942-41C5-B44D-036A5C70B5A0}" destId="{005FEA10-D2C5-417B-A9B2-3620F1381999}" srcOrd="2" destOrd="0" parTransId="{88FB58E2-290A-4124-A0AB-FC2CE8CE141E}" sibTransId="{A42D9819-BF83-4B43-8B9D-34732320C82A}"/>
    <dgm:cxn modelId="{633A2F55-6D7C-490F-9F2A-E693B71EFDAF}" type="presOf" srcId="{81ECC0B4-B045-4CD8-897C-ABDEB6CB9FFE}" destId="{6768D424-C474-4AB8-B676-90D93D858CBA}" srcOrd="0" destOrd="0" presId="urn:microsoft.com/office/officeart/2005/8/layout/default"/>
    <dgm:cxn modelId="{FB6CE67A-51F7-42B9-A4FA-1A1F65403FD2}" type="presOf" srcId="{0E68DD34-58A5-4497-A0BD-EA6AF2112314}" destId="{26CB900D-91E1-4613-A6DD-CBC38E0865E9}" srcOrd="0" destOrd="0" presId="urn:microsoft.com/office/officeart/2005/8/layout/default"/>
    <dgm:cxn modelId="{4481B689-EB17-43F3-A89A-4B353207E278}" srcId="{5458D226-E942-41C5-B44D-036A5C70B5A0}" destId="{0E68DD34-58A5-4497-A0BD-EA6AF2112314}" srcOrd="5" destOrd="0" parTransId="{485D82DC-A47C-43EE-8D3F-9A5A2305BC0F}" sibTransId="{682D3C81-38E7-4A8D-8BE6-159BD37F3993}"/>
    <dgm:cxn modelId="{5DBFBD8D-9248-421A-A982-AD772217302D}" srcId="{5458D226-E942-41C5-B44D-036A5C70B5A0}" destId="{9EC628B7-72BE-4669-9B38-D4F45BB38FBE}" srcOrd="12" destOrd="0" parTransId="{B987ED45-0C3A-49C1-BEE1-025804A188A3}" sibTransId="{B8A64AC1-1BA2-441C-B25D-0684E2A4E070}"/>
    <dgm:cxn modelId="{87722691-3513-490C-9556-581E23ADDDE1}" srcId="{5458D226-E942-41C5-B44D-036A5C70B5A0}" destId="{53D0F7EC-63F4-40EF-AA16-60713FE81778}" srcOrd="11" destOrd="0" parTransId="{7348C683-E7C5-495C-AF70-2FF8CC26E087}" sibTransId="{65D4317C-2445-4F79-86B4-FD0563278018}"/>
    <dgm:cxn modelId="{AC3D549D-012B-4D73-8EE6-B61830031C78}" type="presOf" srcId="{005FEA10-D2C5-417B-A9B2-3620F1381999}" destId="{DD7F73C7-5612-4F87-AB77-7D75B42FBF18}" srcOrd="0" destOrd="0" presId="urn:microsoft.com/office/officeart/2005/8/layout/default"/>
    <dgm:cxn modelId="{175855A5-A8FC-4EBD-8D83-6402D467771B}" srcId="{5458D226-E942-41C5-B44D-036A5C70B5A0}" destId="{0757B983-1F01-486A-95E5-DDFC28057B69}" srcOrd="7" destOrd="0" parTransId="{1172C09A-2602-400A-B5D1-C7A1155E38B8}" sibTransId="{01462F5D-B351-4F06-83BD-521E27BB59EA}"/>
    <dgm:cxn modelId="{7C0E67B4-5025-40D5-9E92-B4CF6C9D5A54}" srcId="{5458D226-E942-41C5-B44D-036A5C70B5A0}" destId="{B87DAE78-5AC6-41F1-A7B9-CF66476AE7E1}" srcOrd="4" destOrd="0" parTransId="{5B89F4C4-090C-4A10-B3BD-1A150FBCE8E0}" sibTransId="{38A29F50-042A-4972-BFDA-9A227965C65A}"/>
    <dgm:cxn modelId="{580B11B9-2960-4043-B2DF-0A733C382492}" type="presOf" srcId="{9EC628B7-72BE-4669-9B38-D4F45BB38FBE}" destId="{0F8D621F-4C01-4970-AD08-74700E260163}" srcOrd="0" destOrd="0" presId="urn:microsoft.com/office/officeart/2005/8/layout/default"/>
    <dgm:cxn modelId="{0674B3BC-66BC-41B5-93FC-FD7AE388A04D}" type="presOf" srcId="{DD7378D5-960E-4AF2-9057-44BB2FB7C2A0}" destId="{EB8217F1-BCE4-46AC-ABB1-08C807EF9B7E}" srcOrd="0" destOrd="0" presId="urn:microsoft.com/office/officeart/2005/8/layout/default"/>
    <dgm:cxn modelId="{27DB4ADA-0320-406D-BDF8-F7A9B24777E2}" type="presOf" srcId="{64F213C2-26B0-470E-8EDF-BCED71797E95}" destId="{70F45BE7-A148-4577-B2C8-A2C1F5F8D125}" srcOrd="0" destOrd="0" presId="urn:microsoft.com/office/officeart/2005/8/layout/default"/>
    <dgm:cxn modelId="{FC8909DB-2CDA-44B9-AB53-46F6978BE9AB}" srcId="{5458D226-E942-41C5-B44D-036A5C70B5A0}" destId="{81ECC0B4-B045-4CD8-897C-ABDEB6CB9FFE}" srcOrd="3" destOrd="0" parTransId="{EE5171E0-E408-4356-BB9E-664571FEF966}" sibTransId="{50ED9B39-35FB-4A3E-B4A0-A17A6CDE9AB4}"/>
    <dgm:cxn modelId="{B45447E9-630E-47BD-960D-6606D5245599}" type="presOf" srcId="{53D0F7EC-63F4-40EF-AA16-60713FE81778}" destId="{ACBC029B-8330-41F1-A55D-E94E7247CFC8}" srcOrd="0" destOrd="0" presId="urn:microsoft.com/office/officeart/2005/8/layout/default"/>
    <dgm:cxn modelId="{13F8BEF4-A3C9-4036-8CED-5C716F18A388}" type="presOf" srcId="{D2E57D08-D4F5-41DF-B091-3C8F5535DF56}" destId="{0E4C2690-424C-4930-B89B-BFE71F1997FE}" srcOrd="0" destOrd="0" presId="urn:microsoft.com/office/officeart/2005/8/layout/default"/>
    <dgm:cxn modelId="{56156AF7-6302-40CA-9D20-91D294B08E02}" srcId="{5458D226-E942-41C5-B44D-036A5C70B5A0}" destId="{DD7378D5-960E-4AF2-9057-44BB2FB7C2A0}" srcOrd="0" destOrd="0" parTransId="{2019803C-F636-416F-A60E-93294DB8EDB1}" sibTransId="{4D83637F-D811-4628-9B8E-A4ADBADB5531}"/>
    <dgm:cxn modelId="{A341D0F9-ED51-411E-8C11-EA0EF0572B33}" type="presOf" srcId="{89EEB868-E7F1-49C6-B280-D36893229A61}" destId="{D8195489-364B-4DC5-9674-44352B7DDF7D}" srcOrd="0" destOrd="0" presId="urn:microsoft.com/office/officeart/2005/8/layout/default"/>
    <dgm:cxn modelId="{C1E80CFD-D414-40C1-A5B1-0ED617F58677}" type="presOf" srcId="{0757B983-1F01-486A-95E5-DDFC28057B69}" destId="{513927A5-2D5C-4D73-976A-3B0BFE3FFA22}" srcOrd="0" destOrd="0" presId="urn:microsoft.com/office/officeart/2005/8/layout/default"/>
    <dgm:cxn modelId="{DD6CF8A1-9E05-429B-8A1D-BB8FDC42F3D0}" type="presParOf" srcId="{D1129557-E449-429E-83F2-718A0544F879}" destId="{EB8217F1-BCE4-46AC-ABB1-08C807EF9B7E}" srcOrd="0" destOrd="0" presId="urn:microsoft.com/office/officeart/2005/8/layout/default"/>
    <dgm:cxn modelId="{89F2E7E2-814C-4EA8-AE9C-EF74C7184A35}" type="presParOf" srcId="{D1129557-E449-429E-83F2-718A0544F879}" destId="{322658E3-FAE5-4677-97C0-D9E8AE7D9A29}" srcOrd="1" destOrd="0" presId="urn:microsoft.com/office/officeart/2005/8/layout/default"/>
    <dgm:cxn modelId="{9A375147-EFE5-4C6C-BC77-5C2590F1D7B7}" type="presParOf" srcId="{D1129557-E449-429E-83F2-718A0544F879}" destId="{888935CE-C712-467D-8538-FADC2185D8DD}" srcOrd="2" destOrd="0" presId="urn:microsoft.com/office/officeart/2005/8/layout/default"/>
    <dgm:cxn modelId="{793602BE-D19D-42CD-BB64-29D6EAF51A0D}" type="presParOf" srcId="{D1129557-E449-429E-83F2-718A0544F879}" destId="{5E74EAD6-50D3-44FA-93FF-063B2B8E9120}" srcOrd="3" destOrd="0" presId="urn:microsoft.com/office/officeart/2005/8/layout/default"/>
    <dgm:cxn modelId="{71A92C17-9DE6-4A54-A686-CC0B5DCCAA8E}" type="presParOf" srcId="{D1129557-E449-429E-83F2-718A0544F879}" destId="{DD7F73C7-5612-4F87-AB77-7D75B42FBF18}" srcOrd="4" destOrd="0" presId="urn:microsoft.com/office/officeart/2005/8/layout/default"/>
    <dgm:cxn modelId="{0B748234-E223-41A3-A6E2-8674D82AE65B}" type="presParOf" srcId="{D1129557-E449-429E-83F2-718A0544F879}" destId="{05203EF7-574B-4CBF-BB71-3407C83BC688}" srcOrd="5" destOrd="0" presId="urn:microsoft.com/office/officeart/2005/8/layout/default"/>
    <dgm:cxn modelId="{0F7B38E2-ED2A-4D94-A768-0F02EAAD56C1}" type="presParOf" srcId="{D1129557-E449-429E-83F2-718A0544F879}" destId="{6768D424-C474-4AB8-B676-90D93D858CBA}" srcOrd="6" destOrd="0" presId="urn:microsoft.com/office/officeart/2005/8/layout/default"/>
    <dgm:cxn modelId="{9D587FBC-6627-4217-9690-32BABF45DF80}" type="presParOf" srcId="{D1129557-E449-429E-83F2-718A0544F879}" destId="{BEDC29C9-3C7E-4CBB-98A2-CA2F53467235}" srcOrd="7" destOrd="0" presId="urn:microsoft.com/office/officeart/2005/8/layout/default"/>
    <dgm:cxn modelId="{A2D9F821-BF18-4670-9B7A-60925CE48DDC}" type="presParOf" srcId="{D1129557-E449-429E-83F2-718A0544F879}" destId="{395BE085-F473-4002-818D-1D01BEE4ADC0}" srcOrd="8" destOrd="0" presId="urn:microsoft.com/office/officeart/2005/8/layout/default"/>
    <dgm:cxn modelId="{B04C9A69-C2B1-4F98-B1B4-C02F4ED4EEB4}" type="presParOf" srcId="{D1129557-E449-429E-83F2-718A0544F879}" destId="{B7C50AE2-F3D0-4A84-A6C0-10C492187D4B}" srcOrd="9" destOrd="0" presId="urn:microsoft.com/office/officeart/2005/8/layout/default"/>
    <dgm:cxn modelId="{4AB3BF42-DF41-4C4E-81CF-F8EE704F6AF6}" type="presParOf" srcId="{D1129557-E449-429E-83F2-718A0544F879}" destId="{26CB900D-91E1-4613-A6DD-CBC38E0865E9}" srcOrd="10" destOrd="0" presId="urn:microsoft.com/office/officeart/2005/8/layout/default"/>
    <dgm:cxn modelId="{7CA3D136-253F-49B4-A7B4-B082D889B059}" type="presParOf" srcId="{D1129557-E449-429E-83F2-718A0544F879}" destId="{7ABF8571-B1AC-4D5B-A5C3-5485179BAA42}" srcOrd="11" destOrd="0" presId="urn:microsoft.com/office/officeart/2005/8/layout/default"/>
    <dgm:cxn modelId="{369C37A4-EA9F-4A8A-9F61-6FC54D4BB4FE}" type="presParOf" srcId="{D1129557-E449-429E-83F2-718A0544F879}" destId="{70F45BE7-A148-4577-B2C8-A2C1F5F8D125}" srcOrd="12" destOrd="0" presId="urn:microsoft.com/office/officeart/2005/8/layout/default"/>
    <dgm:cxn modelId="{76AA3945-90AC-421B-BF2F-C20A07CFD39D}" type="presParOf" srcId="{D1129557-E449-429E-83F2-718A0544F879}" destId="{2C99492A-E81E-40E2-B948-B08AE085BD69}" srcOrd="13" destOrd="0" presId="urn:microsoft.com/office/officeart/2005/8/layout/default"/>
    <dgm:cxn modelId="{328BA300-CBC5-413F-882B-56A3301A17C7}" type="presParOf" srcId="{D1129557-E449-429E-83F2-718A0544F879}" destId="{513927A5-2D5C-4D73-976A-3B0BFE3FFA22}" srcOrd="14" destOrd="0" presId="urn:microsoft.com/office/officeart/2005/8/layout/default"/>
    <dgm:cxn modelId="{2A9DA642-D418-463E-B170-746F737EA643}" type="presParOf" srcId="{D1129557-E449-429E-83F2-718A0544F879}" destId="{8E3F2322-8890-4702-9EE8-11B5FCF4D028}" srcOrd="15" destOrd="0" presId="urn:microsoft.com/office/officeart/2005/8/layout/default"/>
    <dgm:cxn modelId="{DFD14F7E-A788-4E09-AFAD-C869C680500C}" type="presParOf" srcId="{D1129557-E449-429E-83F2-718A0544F879}" destId="{0E4C2690-424C-4930-B89B-BFE71F1997FE}" srcOrd="16" destOrd="0" presId="urn:microsoft.com/office/officeart/2005/8/layout/default"/>
    <dgm:cxn modelId="{1D6F815F-D3D2-4011-AD42-43C82AA2DC32}" type="presParOf" srcId="{D1129557-E449-429E-83F2-718A0544F879}" destId="{1DAC9F2B-4F9D-4DF3-A0E1-1ED8262FF94C}" srcOrd="17" destOrd="0" presId="urn:microsoft.com/office/officeart/2005/8/layout/default"/>
    <dgm:cxn modelId="{55A537F9-1004-4E43-8E21-12DF1AFE83B0}" type="presParOf" srcId="{D1129557-E449-429E-83F2-718A0544F879}" destId="{D8195489-364B-4DC5-9674-44352B7DDF7D}" srcOrd="18" destOrd="0" presId="urn:microsoft.com/office/officeart/2005/8/layout/default"/>
    <dgm:cxn modelId="{BE3D9DD4-E455-4444-A8B2-3227101C2437}" type="presParOf" srcId="{D1129557-E449-429E-83F2-718A0544F879}" destId="{161DFDDE-E7B6-4EFD-B875-9B51F1C78075}" srcOrd="19" destOrd="0" presId="urn:microsoft.com/office/officeart/2005/8/layout/default"/>
    <dgm:cxn modelId="{4D7347BD-CB7C-4081-85A8-32A0E2FAA68C}" type="presParOf" srcId="{D1129557-E449-429E-83F2-718A0544F879}" destId="{9083F1B6-5A0B-4BDA-9AA2-3A2F2DCC1E11}" srcOrd="20" destOrd="0" presId="urn:microsoft.com/office/officeart/2005/8/layout/default"/>
    <dgm:cxn modelId="{F178AB65-6E06-474D-BAD3-57E0A43C9E88}" type="presParOf" srcId="{D1129557-E449-429E-83F2-718A0544F879}" destId="{92F90E1A-894A-475B-BDB9-68F93371C999}" srcOrd="21" destOrd="0" presId="urn:microsoft.com/office/officeart/2005/8/layout/default"/>
    <dgm:cxn modelId="{E55C4A77-606B-43BF-95EB-C8C18A3BDFA9}" type="presParOf" srcId="{D1129557-E449-429E-83F2-718A0544F879}" destId="{ACBC029B-8330-41F1-A55D-E94E7247CFC8}" srcOrd="22" destOrd="0" presId="urn:microsoft.com/office/officeart/2005/8/layout/default"/>
    <dgm:cxn modelId="{46E666A8-6884-45B6-B131-1986BAABF5D6}" type="presParOf" srcId="{D1129557-E449-429E-83F2-718A0544F879}" destId="{EE486E70-A9C0-469F-BCF9-0B9C7F2D811A}" srcOrd="23" destOrd="0" presId="urn:microsoft.com/office/officeart/2005/8/layout/default"/>
    <dgm:cxn modelId="{C0197C50-E156-484F-A598-3CEF04B7CCE2}" type="presParOf" srcId="{D1129557-E449-429E-83F2-718A0544F879}" destId="{0F8D621F-4C01-4970-AD08-74700E260163}" srcOrd="24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32870B5-23D5-4B95-A7F1-24D3A5C6E9C3}" type="doc">
      <dgm:prSet loTypeId="urn:microsoft.com/office/officeart/2018/2/layout/IconCircleList" loCatId="icon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9AF1783F-55BA-40BA-96CB-DEFD8A2B02C5}">
      <dgm:prSet/>
      <dgm:spPr/>
      <dgm:t>
        <a:bodyPr/>
        <a:lstStyle/>
        <a:p>
          <a:pPr>
            <a:lnSpc>
              <a:spcPct val="100000"/>
            </a:lnSpc>
          </a:pPr>
          <a:r>
            <a:rPr lang="en-GB"/>
            <a:t>All Degree apprentices will complete a bridging course (currently 17 weeks) delivered at one of our local training providers which you need to pass to pass your probation. </a:t>
          </a:r>
          <a:endParaRPr lang="en-US"/>
        </a:p>
      </dgm:t>
    </dgm:pt>
    <dgm:pt modelId="{42092757-50BD-4A4F-9D5F-0A4299E21E3E}" type="parTrans" cxnId="{FBECA6A9-3756-47BE-83F8-6C996338374D}">
      <dgm:prSet/>
      <dgm:spPr/>
      <dgm:t>
        <a:bodyPr/>
        <a:lstStyle/>
        <a:p>
          <a:endParaRPr lang="en-US"/>
        </a:p>
      </dgm:t>
    </dgm:pt>
    <dgm:pt modelId="{53F9E124-5EC4-47E7-8449-873EA963E2C2}" type="sibTrans" cxnId="{FBECA6A9-3756-47BE-83F8-6C996338374D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19FA184E-02E6-4C2F-A96A-228D11E62B12}">
      <dgm:prSet/>
      <dgm:spPr/>
      <dgm:t>
        <a:bodyPr/>
        <a:lstStyle/>
        <a:p>
          <a:pPr>
            <a:lnSpc>
              <a:spcPct val="100000"/>
            </a:lnSpc>
          </a:pPr>
          <a:r>
            <a:rPr lang="en-GB"/>
            <a:t>Apprentices will then be based full time in the workplace and continue academic studies on a day release basis at one of our local training providers.</a:t>
          </a:r>
          <a:endParaRPr lang="en-US"/>
        </a:p>
      </dgm:t>
    </dgm:pt>
    <dgm:pt modelId="{207AFD91-DBCA-4B3C-A5EC-10EBD1BC8A60}" type="parTrans" cxnId="{45D71310-3827-4E4D-8483-7236F51388B5}">
      <dgm:prSet/>
      <dgm:spPr/>
      <dgm:t>
        <a:bodyPr/>
        <a:lstStyle/>
        <a:p>
          <a:endParaRPr lang="en-US"/>
        </a:p>
      </dgm:t>
    </dgm:pt>
    <dgm:pt modelId="{F5FF1CCA-423E-4163-AF96-B3BABCBD8958}" type="sibTrans" cxnId="{45D71310-3827-4E4D-8483-7236F51388B5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04761E5A-C5B0-4078-9D66-14223FF46277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b="1" dirty="0"/>
            <a:t>Phase 1 – initial 3-year period:</a:t>
          </a:r>
          <a:br>
            <a:rPr lang="en-GB" dirty="0"/>
          </a:br>
          <a:r>
            <a:rPr lang="en-GB" dirty="0"/>
            <a:t>• Nuclear Technician Apprenticeship Standard (Level 5);</a:t>
          </a:r>
          <a:br>
            <a:rPr lang="en-GB" dirty="0"/>
          </a:br>
          <a:r>
            <a:rPr lang="en-GB" dirty="0"/>
            <a:t>• Foundation Degree/HND (Level 5) in either a science or engineering-based discipline</a:t>
          </a:r>
          <a:endParaRPr lang="en-US" dirty="0"/>
        </a:p>
      </dgm:t>
    </dgm:pt>
    <dgm:pt modelId="{1AA5A9D9-1193-4126-912E-31DEFC7DEEDB}" type="parTrans" cxnId="{133A7460-992E-4F50-AD59-3435AED8BEF2}">
      <dgm:prSet/>
      <dgm:spPr/>
      <dgm:t>
        <a:bodyPr/>
        <a:lstStyle/>
        <a:p>
          <a:endParaRPr lang="en-US"/>
        </a:p>
      </dgm:t>
    </dgm:pt>
    <dgm:pt modelId="{A940A51B-5F7C-42A6-8854-96C87C1A12C8}" type="sibTrans" cxnId="{133A7460-992E-4F50-AD59-3435AED8BEF2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94CF5BF8-09AE-4998-8D0A-A6D84C5D56D6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b="1"/>
            <a:t>For candidates with the ability to progress further:</a:t>
          </a:r>
          <a:br>
            <a:rPr lang="en-GB"/>
          </a:br>
          <a:r>
            <a:rPr lang="en-GB"/>
            <a:t>Phase 2 – further 2 year period:</a:t>
          </a:r>
          <a:br>
            <a:rPr lang="en-GB"/>
          </a:br>
          <a:r>
            <a:rPr lang="en-GB"/>
            <a:t>• Nuclear Scientist and Engineer Integrated Degree Apprentice Standard (Level 6);</a:t>
          </a:r>
          <a:br>
            <a:rPr lang="en-GB"/>
          </a:br>
          <a:r>
            <a:rPr lang="en-GB"/>
            <a:t>• Bachelor’s Degree in Engineering (BEng – Level 6) or a Bachelor’s Degree in Science (BSc – Level 6) aligned to your career pathway</a:t>
          </a:r>
          <a:endParaRPr lang="en-US"/>
        </a:p>
      </dgm:t>
    </dgm:pt>
    <dgm:pt modelId="{61FFFFF0-614C-45ED-A83A-B16F01EA47CF}" type="parTrans" cxnId="{796C2CF2-7562-4CF3-B3EB-5EC74CE19EF7}">
      <dgm:prSet/>
      <dgm:spPr/>
      <dgm:t>
        <a:bodyPr/>
        <a:lstStyle/>
        <a:p>
          <a:endParaRPr lang="en-US"/>
        </a:p>
      </dgm:t>
    </dgm:pt>
    <dgm:pt modelId="{09130249-ED1E-45D4-A91C-1F4919C27CF9}" type="sibTrans" cxnId="{796C2CF2-7562-4CF3-B3EB-5EC74CE19EF7}">
      <dgm:prSet/>
      <dgm:spPr/>
      <dgm:t>
        <a:bodyPr/>
        <a:lstStyle/>
        <a:p>
          <a:endParaRPr lang="en-US"/>
        </a:p>
      </dgm:t>
    </dgm:pt>
    <dgm:pt modelId="{0FAB3F00-AC7F-4906-B1A7-54D5D73C70A1}" type="pres">
      <dgm:prSet presAssocID="{032870B5-23D5-4B95-A7F1-24D3A5C6E9C3}" presName="root" presStyleCnt="0">
        <dgm:presLayoutVars>
          <dgm:dir/>
          <dgm:resizeHandles val="exact"/>
        </dgm:presLayoutVars>
      </dgm:prSet>
      <dgm:spPr/>
    </dgm:pt>
    <dgm:pt modelId="{1B03D9D5-0035-4B95-B748-D1C282022B62}" type="pres">
      <dgm:prSet presAssocID="{032870B5-23D5-4B95-A7F1-24D3A5C6E9C3}" presName="container" presStyleCnt="0">
        <dgm:presLayoutVars>
          <dgm:dir/>
          <dgm:resizeHandles val="exact"/>
        </dgm:presLayoutVars>
      </dgm:prSet>
      <dgm:spPr/>
    </dgm:pt>
    <dgm:pt modelId="{69BE7B79-A048-4C71-A10B-DA7AC8A5D840}" type="pres">
      <dgm:prSet presAssocID="{9AF1783F-55BA-40BA-96CB-DEFD8A2B02C5}" presName="compNode" presStyleCnt="0"/>
      <dgm:spPr/>
    </dgm:pt>
    <dgm:pt modelId="{0F08D081-DA45-4274-9D6B-55C36821DD5D}" type="pres">
      <dgm:prSet presAssocID="{9AF1783F-55BA-40BA-96CB-DEFD8A2B02C5}" presName="iconBgRect" presStyleLbl="bgShp" presStyleIdx="0" presStyleCnt="4"/>
      <dgm:spPr/>
    </dgm:pt>
    <dgm:pt modelId="{91B59F49-964C-4827-B2AF-570A959DFE29}" type="pres">
      <dgm:prSet presAssocID="{9AF1783F-55BA-40BA-96CB-DEFD8A2B02C5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choolhouse"/>
        </a:ext>
      </dgm:extLst>
    </dgm:pt>
    <dgm:pt modelId="{C6F857DF-BD3A-4B61-8C10-2552F1E3E276}" type="pres">
      <dgm:prSet presAssocID="{9AF1783F-55BA-40BA-96CB-DEFD8A2B02C5}" presName="spaceRect" presStyleCnt="0"/>
      <dgm:spPr/>
    </dgm:pt>
    <dgm:pt modelId="{E780A029-5746-48AB-BA35-1CE219314304}" type="pres">
      <dgm:prSet presAssocID="{9AF1783F-55BA-40BA-96CB-DEFD8A2B02C5}" presName="textRect" presStyleLbl="revTx" presStyleIdx="0" presStyleCnt="4">
        <dgm:presLayoutVars>
          <dgm:chMax val="1"/>
          <dgm:chPref val="1"/>
        </dgm:presLayoutVars>
      </dgm:prSet>
      <dgm:spPr/>
    </dgm:pt>
    <dgm:pt modelId="{2769C56B-36FB-4BDE-AA15-3A3EA8BB7E17}" type="pres">
      <dgm:prSet presAssocID="{53F9E124-5EC4-47E7-8449-873EA963E2C2}" presName="sibTrans" presStyleLbl="sibTrans2D1" presStyleIdx="0" presStyleCnt="0"/>
      <dgm:spPr/>
    </dgm:pt>
    <dgm:pt modelId="{A45AE43C-9D19-47C4-A52F-AB59AD254430}" type="pres">
      <dgm:prSet presAssocID="{19FA184E-02E6-4C2F-A96A-228D11E62B12}" presName="compNode" presStyleCnt="0"/>
      <dgm:spPr/>
    </dgm:pt>
    <dgm:pt modelId="{DF90CAC1-DC10-4131-92C0-4FFCBE02E7AC}" type="pres">
      <dgm:prSet presAssocID="{19FA184E-02E6-4C2F-A96A-228D11E62B12}" presName="iconBgRect" presStyleLbl="bgShp" presStyleIdx="1" presStyleCnt="4"/>
      <dgm:spPr/>
    </dgm:pt>
    <dgm:pt modelId="{9597A7AF-38B5-462A-8FBC-068DDB6A5FD6}" type="pres">
      <dgm:prSet presAssocID="{19FA184E-02E6-4C2F-A96A-228D11E62B12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lassroom"/>
        </a:ext>
      </dgm:extLst>
    </dgm:pt>
    <dgm:pt modelId="{20E78DCF-E54E-41DB-AF6F-A81AADE3F4B5}" type="pres">
      <dgm:prSet presAssocID="{19FA184E-02E6-4C2F-A96A-228D11E62B12}" presName="spaceRect" presStyleCnt="0"/>
      <dgm:spPr/>
    </dgm:pt>
    <dgm:pt modelId="{A7F137B9-77EC-49FD-B8EB-3ABFFDA74524}" type="pres">
      <dgm:prSet presAssocID="{19FA184E-02E6-4C2F-A96A-228D11E62B12}" presName="textRect" presStyleLbl="revTx" presStyleIdx="1" presStyleCnt="4">
        <dgm:presLayoutVars>
          <dgm:chMax val="1"/>
          <dgm:chPref val="1"/>
        </dgm:presLayoutVars>
      </dgm:prSet>
      <dgm:spPr/>
    </dgm:pt>
    <dgm:pt modelId="{5A1EBBA0-C994-4738-9F0F-842AFC139BE1}" type="pres">
      <dgm:prSet presAssocID="{F5FF1CCA-423E-4163-AF96-B3BABCBD8958}" presName="sibTrans" presStyleLbl="sibTrans2D1" presStyleIdx="0" presStyleCnt="0"/>
      <dgm:spPr/>
    </dgm:pt>
    <dgm:pt modelId="{37C9FEAA-884F-45D5-BF87-7147D8F8E6B4}" type="pres">
      <dgm:prSet presAssocID="{04761E5A-C5B0-4078-9D66-14223FF46277}" presName="compNode" presStyleCnt="0"/>
      <dgm:spPr/>
    </dgm:pt>
    <dgm:pt modelId="{16BFEB42-5A4A-4D33-86CB-19C5D58E73C8}" type="pres">
      <dgm:prSet presAssocID="{04761E5A-C5B0-4078-9D66-14223FF46277}" presName="iconBgRect" presStyleLbl="bgShp" presStyleIdx="2" presStyleCnt="4"/>
      <dgm:spPr/>
    </dgm:pt>
    <dgm:pt modelId="{669ECDD6-45FD-465B-A56A-20C26910CFEE}" type="pres">
      <dgm:prSet presAssocID="{04761E5A-C5B0-4078-9D66-14223FF46277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Atom"/>
        </a:ext>
      </dgm:extLst>
    </dgm:pt>
    <dgm:pt modelId="{70570D94-F6FC-478D-9D2B-A90C6CD6AF92}" type="pres">
      <dgm:prSet presAssocID="{04761E5A-C5B0-4078-9D66-14223FF46277}" presName="spaceRect" presStyleCnt="0"/>
      <dgm:spPr/>
    </dgm:pt>
    <dgm:pt modelId="{D3BB5EB7-9840-444C-A019-C0A412114A03}" type="pres">
      <dgm:prSet presAssocID="{04761E5A-C5B0-4078-9D66-14223FF46277}" presName="textRect" presStyleLbl="revTx" presStyleIdx="2" presStyleCnt="4">
        <dgm:presLayoutVars>
          <dgm:chMax val="1"/>
          <dgm:chPref val="1"/>
        </dgm:presLayoutVars>
      </dgm:prSet>
      <dgm:spPr/>
    </dgm:pt>
    <dgm:pt modelId="{9BFDFED6-FECD-4C76-975A-C4EDAB2B0CA3}" type="pres">
      <dgm:prSet presAssocID="{A940A51B-5F7C-42A6-8854-96C87C1A12C8}" presName="sibTrans" presStyleLbl="sibTrans2D1" presStyleIdx="0" presStyleCnt="0"/>
      <dgm:spPr/>
    </dgm:pt>
    <dgm:pt modelId="{A9B30004-3642-47BF-9558-B12ED14F86A8}" type="pres">
      <dgm:prSet presAssocID="{94CF5BF8-09AE-4998-8D0A-A6D84C5D56D6}" presName="compNode" presStyleCnt="0"/>
      <dgm:spPr/>
    </dgm:pt>
    <dgm:pt modelId="{508808F2-BB08-4442-A238-71A1217353F3}" type="pres">
      <dgm:prSet presAssocID="{94CF5BF8-09AE-4998-8D0A-A6D84C5D56D6}" presName="iconBgRect" presStyleLbl="bgShp" presStyleIdx="3" presStyleCnt="4"/>
      <dgm:spPr/>
    </dgm:pt>
    <dgm:pt modelId="{10A45C14-0CAC-422D-8CE3-230DDFD2234A}" type="pres">
      <dgm:prSet presAssocID="{94CF5BF8-09AE-4998-8D0A-A6D84C5D56D6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iploma Roll"/>
        </a:ext>
      </dgm:extLst>
    </dgm:pt>
    <dgm:pt modelId="{09E14C91-46F0-48A3-A86E-557C02105FFB}" type="pres">
      <dgm:prSet presAssocID="{94CF5BF8-09AE-4998-8D0A-A6D84C5D56D6}" presName="spaceRect" presStyleCnt="0"/>
      <dgm:spPr/>
    </dgm:pt>
    <dgm:pt modelId="{E5831C14-F518-43B9-B41C-81593E3E9599}" type="pres">
      <dgm:prSet presAssocID="{94CF5BF8-09AE-4998-8D0A-A6D84C5D56D6}" presName="textRect" presStyleLbl="revTx" presStyleIdx="3" presStyleCnt="4">
        <dgm:presLayoutVars>
          <dgm:chMax val="1"/>
          <dgm:chPref val="1"/>
        </dgm:presLayoutVars>
      </dgm:prSet>
      <dgm:spPr/>
    </dgm:pt>
  </dgm:ptLst>
  <dgm:cxnLst>
    <dgm:cxn modelId="{AF93110E-8CD8-49F6-AFAA-19CF9BB26250}" type="presOf" srcId="{F5FF1CCA-423E-4163-AF96-B3BABCBD8958}" destId="{5A1EBBA0-C994-4738-9F0F-842AFC139BE1}" srcOrd="0" destOrd="0" presId="urn:microsoft.com/office/officeart/2018/2/layout/IconCircleList"/>
    <dgm:cxn modelId="{45D71310-3827-4E4D-8483-7236F51388B5}" srcId="{032870B5-23D5-4B95-A7F1-24D3A5C6E9C3}" destId="{19FA184E-02E6-4C2F-A96A-228D11E62B12}" srcOrd="1" destOrd="0" parTransId="{207AFD91-DBCA-4B3C-A5EC-10EBD1BC8A60}" sibTransId="{F5FF1CCA-423E-4163-AF96-B3BABCBD8958}"/>
    <dgm:cxn modelId="{133A7460-992E-4F50-AD59-3435AED8BEF2}" srcId="{032870B5-23D5-4B95-A7F1-24D3A5C6E9C3}" destId="{04761E5A-C5B0-4078-9D66-14223FF46277}" srcOrd="2" destOrd="0" parTransId="{1AA5A9D9-1193-4126-912E-31DEFC7DEEDB}" sibTransId="{A940A51B-5F7C-42A6-8854-96C87C1A12C8}"/>
    <dgm:cxn modelId="{CE1B8899-EE7E-42CD-A600-C57CE31E34EA}" type="presOf" srcId="{9AF1783F-55BA-40BA-96CB-DEFD8A2B02C5}" destId="{E780A029-5746-48AB-BA35-1CE219314304}" srcOrd="0" destOrd="0" presId="urn:microsoft.com/office/officeart/2018/2/layout/IconCircleList"/>
    <dgm:cxn modelId="{DF313B9D-8AE1-4FD2-92F1-2B17827BDDF2}" type="presOf" srcId="{19FA184E-02E6-4C2F-A96A-228D11E62B12}" destId="{A7F137B9-77EC-49FD-B8EB-3ABFFDA74524}" srcOrd="0" destOrd="0" presId="urn:microsoft.com/office/officeart/2018/2/layout/IconCircleList"/>
    <dgm:cxn modelId="{FBECA6A9-3756-47BE-83F8-6C996338374D}" srcId="{032870B5-23D5-4B95-A7F1-24D3A5C6E9C3}" destId="{9AF1783F-55BA-40BA-96CB-DEFD8A2B02C5}" srcOrd="0" destOrd="0" parTransId="{42092757-50BD-4A4F-9D5F-0A4299E21E3E}" sibTransId="{53F9E124-5EC4-47E7-8449-873EA963E2C2}"/>
    <dgm:cxn modelId="{F9F64BC4-BFD2-49B3-B668-9464E7C94F83}" type="presOf" srcId="{53F9E124-5EC4-47E7-8449-873EA963E2C2}" destId="{2769C56B-36FB-4BDE-AA15-3A3EA8BB7E17}" srcOrd="0" destOrd="0" presId="urn:microsoft.com/office/officeart/2018/2/layout/IconCircleList"/>
    <dgm:cxn modelId="{5028E8EA-83B0-4642-8DD3-1803F3C552A4}" type="presOf" srcId="{94CF5BF8-09AE-4998-8D0A-A6D84C5D56D6}" destId="{E5831C14-F518-43B9-B41C-81593E3E9599}" srcOrd="0" destOrd="0" presId="urn:microsoft.com/office/officeart/2018/2/layout/IconCircleList"/>
    <dgm:cxn modelId="{0D63C0EB-0972-4F4A-AE23-8BCA1B050422}" type="presOf" srcId="{032870B5-23D5-4B95-A7F1-24D3A5C6E9C3}" destId="{0FAB3F00-AC7F-4906-B1A7-54D5D73C70A1}" srcOrd="0" destOrd="0" presId="urn:microsoft.com/office/officeart/2018/2/layout/IconCircleList"/>
    <dgm:cxn modelId="{EB4B96ED-9A99-454F-9DDD-C229540D1BB6}" type="presOf" srcId="{04761E5A-C5B0-4078-9D66-14223FF46277}" destId="{D3BB5EB7-9840-444C-A019-C0A412114A03}" srcOrd="0" destOrd="0" presId="urn:microsoft.com/office/officeart/2018/2/layout/IconCircleList"/>
    <dgm:cxn modelId="{F18C08F1-5A0E-4298-989B-0A503979FDC8}" type="presOf" srcId="{A940A51B-5F7C-42A6-8854-96C87C1A12C8}" destId="{9BFDFED6-FECD-4C76-975A-C4EDAB2B0CA3}" srcOrd="0" destOrd="0" presId="urn:microsoft.com/office/officeart/2018/2/layout/IconCircleList"/>
    <dgm:cxn modelId="{796C2CF2-7562-4CF3-B3EB-5EC74CE19EF7}" srcId="{032870B5-23D5-4B95-A7F1-24D3A5C6E9C3}" destId="{94CF5BF8-09AE-4998-8D0A-A6D84C5D56D6}" srcOrd="3" destOrd="0" parTransId="{61FFFFF0-614C-45ED-A83A-B16F01EA47CF}" sibTransId="{09130249-ED1E-45D4-A91C-1F4919C27CF9}"/>
    <dgm:cxn modelId="{5778C97A-C73C-41A7-8ACF-C431739879F5}" type="presParOf" srcId="{0FAB3F00-AC7F-4906-B1A7-54D5D73C70A1}" destId="{1B03D9D5-0035-4B95-B748-D1C282022B62}" srcOrd="0" destOrd="0" presId="urn:microsoft.com/office/officeart/2018/2/layout/IconCircleList"/>
    <dgm:cxn modelId="{527C1BF2-7315-40EC-B597-60EB20905137}" type="presParOf" srcId="{1B03D9D5-0035-4B95-B748-D1C282022B62}" destId="{69BE7B79-A048-4C71-A10B-DA7AC8A5D840}" srcOrd="0" destOrd="0" presId="urn:microsoft.com/office/officeart/2018/2/layout/IconCircleList"/>
    <dgm:cxn modelId="{4D0D9680-7F78-4A46-8A31-22930C6525DA}" type="presParOf" srcId="{69BE7B79-A048-4C71-A10B-DA7AC8A5D840}" destId="{0F08D081-DA45-4274-9D6B-55C36821DD5D}" srcOrd="0" destOrd="0" presId="urn:microsoft.com/office/officeart/2018/2/layout/IconCircleList"/>
    <dgm:cxn modelId="{43DA897C-49C3-452A-859B-9D6E758BEE10}" type="presParOf" srcId="{69BE7B79-A048-4C71-A10B-DA7AC8A5D840}" destId="{91B59F49-964C-4827-B2AF-570A959DFE29}" srcOrd="1" destOrd="0" presId="urn:microsoft.com/office/officeart/2018/2/layout/IconCircleList"/>
    <dgm:cxn modelId="{B0B5C8C3-091C-4E68-9DBE-8344987B52F3}" type="presParOf" srcId="{69BE7B79-A048-4C71-A10B-DA7AC8A5D840}" destId="{C6F857DF-BD3A-4B61-8C10-2552F1E3E276}" srcOrd="2" destOrd="0" presId="urn:microsoft.com/office/officeart/2018/2/layout/IconCircleList"/>
    <dgm:cxn modelId="{0FA8987F-FB53-452C-A6C7-FB50585A47FE}" type="presParOf" srcId="{69BE7B79-A048-4C71-A10B-DA7AC8A5D840}" destId="{E780A029-5746-48AB-BA35-1CE219314304}" srcOrd="3" destOrd="0" presId="urn:microsoft.com/office/officeart/2018/2/layout/IconCircleList"/>
    <dgm:cxn modelId="{68E3226B-72AA-4781-9BDA-ADBC7372447A}" type="presParOf" srcId="{1B03D9D5-0035-4B95-B748-D1C282022B62}" destId="{2769C56B-36FB-4BDE-AA15-3A3EA8BB7E17}" srcOrd="1" destOrd="0" presId="urn:microsoft.com/office/officeart/2018/2/layout/IconCircleList"/>
    <dgm:cxn modelId="{6B5DE743-A2C1-4961-B112-FCAAE43DEC7F}" type="presParOf" srcId="{1B03D9D5-0035-4B95-B748-D1C282022B62}" destId="{A45AE43C-9D19-47C4-A52F-AB59AD254430}" srcOrd="2" destOrd="0" presId="urn:microsoft.com/office/officeart/2018/2/layout/IconCircleList"/>
    <dgm:cxn modelId="{172E5946-28AB-43D8-B30D-C79EFC5BF068}" type="presParOf" srcId="{A45AE43C-9D19-47C4-A52F-AB59AD254430}" destId="{DF90CAC1-DC10-4131-92C0-4FFCBE02E7AC}" srcOrd="0" destOrd="0" presId="urn:microsoft.com/office/officeart/2018/2/layout/IconCircleList"/>
    <dgm:cxn modelId="{46569ED0-5560-42FA-882B-63ADFB6E7910}" type="presParOf" srcId="{A45AE43C-9D19-47C4-A52F-AB59AD254430}" destId="{9597A7AF-38B5-462A-8FBC-068DDB6A5FD6}" srcOrd="1" destOrd="0" presId="urn:microsoft.com/office/officeart/2018/2/layout/IconCircleList"/>
    <dgm:cxn modelId="{D04C8980-29FE-4C0B-969B-F13FAB09679F}" type="presParOf" srcId="{A45AE43C-9D19-47C4-A52F-AB59AD254430}" destId="{20E78DCF-E54E-41DB-AF6F-A81AADE3F4B5}" srcOrd="2" destOrd="0" presId="urn:microsoft.com/office/officeart/2018/2/layout/IconCircleList"/>
    <dgm:cxn modelId="{18C85BA7-D657-405B-86AC-FC4F97247702}" type="presParOf" srcId="{A45AE43C-9D19-47C4-A52F-AB59AD254430}" destId="{A7F137B9-77EC-49FD-B8EB-3ABFFDA74524}" srcOrd="3" destOrd="0" presId="urn:microsoft.com/office/officeart/2018/2/layout/IconCircleList"/>
    <dgm:cxn modelId="{4FB4B7D8-58EC-4E9D-B08D-41A4CA4D565B}" type="presParOf" srcId="{1B03D9D5-0035-4B95-B748-D1C282022B62}" destId="{5A1EBBA0-C994-4738-9F0F-842AFC139BE1}" srcOrd="3" destOrd="0" presId="urn:microsoft.com/office/officeart/2018/2/layout/IconCircleList"/>
    <dgm:cxn modelId="{8729EFAE-23E5-461D-B233-27C255EA0E7B}" type="presParOf" srcId="{1B03D9D5-0035-4B95-B748-D1C282022B62}" destId="{37C9FEAA-884F-45D5-BF87-7147D8F8E6B4}" srcOrd="4" destOrd="0" presId="urn:microsoft.com/office/officeart/2018/2/layout/IconCircleList"/>
    <dgm:cxn modelId="{ECD6B609-C481-46DD-9B70-AA9D00B4A29C}" type="presParOf" srcId="{37C9FEAA-884F-45D5-BF87-7147D8F8E6B4}" destId="{16BFEB42-5A4A-4D33-86CB-19C5D58E73C8}" srcOrd="0" destOrd="0" presId="urn:microsoft.com/office/officeart/2018/2/layout/IconCircleList"/>
    <dgm:cxn modelId="{61DC5D91-7D9F-4ED3-A6A1-B41F03F609EC}" type="presParOf" srcId="{37C9FEAA-884F-45D5-BF87-7147D8F8E6B4}" destId="{669ECDD6-45FD-465B-A56A-20C26910CFEE}" srcOrd="1" destOrd="0" presId="urn:microsoft.com/office/officeart/2018/2/layout/IconCircleList"/>
    <dgm:cxn modelId="{4B93641E-A1C1-483F-9084-6195ED900202}" type="presParOf" srcId="{37C9FEAA-884F-45D5-BF87-7147D8F8E6B4}" destId="{70570D94-F6FC-478D-9D2B-A90C6CD6AF92}" srcOrd="2" destOrd="0" presId="urn:microsoft.com/office/officeart/2018/2/layout/IconCircleList"/>
    <dgm:cxn modelId="{E101CC76-485C-4119-B5D4-3723C3E91183}" type="presParOf" srcId="{37C9FEAA-884F-45D5-BF87-7147D8F8E6B4}" destId="{D3BB5EB7-9840-444C-A019-C0A412114A03}" srcOrd="3" destOrd="0" presId="urn:microsoft.com/office/officeart/2018/2/layout/IconCircleList"/>
    <dgm:cxn modelId="{7B37BB55-A1C9-4F35-A186-9C26AD28117D}" type="presParOf" srcId="{1B03D9D5-0035-4B95-B748-D1C282022B62}" destId="{9BFDFED6-FECD-4C76-975A-C4EDAB2B0CA3}" srcOrd="5" destOrd="0" presId="urn:microsoft.com/office/officeart/2018/2/layout/IconCircleList"/>
    <dgm:cxn modelId="{24477424-E8F0-4F7E-8210-7C2F68B73314}" type="presParOf" srcId="{1B03D9D5-0035-4B95-B748-D1C282022B62}" destId="{A9B30004-3642-47BF-9558-B12ED14F86A8}" srcOrd="6" destOrd="0" presId="urn:microsoft.com/office/officeart/2018/2/layout/IconCircleList"/>
    <dgm:cxn modelId="{1F15C9DC-D012-4EA3-8BA9-B65B1B1E29AE}" type="presParOf" srcId="{A9B30004-3642-47BF-9558-B12ED14F86A8}" destId="{508808F2-BB08-4442-A238-71A1217353F3}" srcOrd="0" destOrd="0" presId="urn:microsoft.com/office/officeart/2018/2/layout/IconCircleList"/>
    <dgm:cxn modelId="{08AEBAF2-10D4-4C77-BDA5-A9B7AAC78A9D}" type="presParOf" srcId="{A9B30004-3642-47BF-9558-B12ED14F86A8}" destId="{10A45C14-0CAC-422D-8CE3-230DDFD2234A}" srcOrd="1" destOrd="0" presId="urn:microsoft.com/office/officeart/2018/2/layout/IconCircleList"/>
    <dgm:cxn modelId="{13276746-D4B2-4842-AA62-0A0024EAED9A}" type="presParOf" srcId="{A9B30004-3642-47BF-9558-B12ED14F86A8}" destId="{09E14C91-46F0-48A3-A86E-557C02105FFB}" srcOrd="2" destOrd="0" presId="urn:microsoft.com/office/officeart/2018/2/layout/IconCircleList"/>
    <dgm:cxn modelId="{04BBDD1A-226E-4495-9FC1-F34092F9FB49}" type="presParOf" srcId="{A9B30004-3642-47BF-9558-B12ED14F86A8}" destId="{E5831C14-F518-43B9-B41C-81593E3E9599}" srcOrd="3" destOrd="0" presId="urn:microsoft.com/office/officeart/2018/2/layout/IconCircle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4075BA6E-F9E2-40B5-9FEF-FAE1E1CF6071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7B64041-6ADD-4CCA-BB8E-2C1A60AA5956}">
      <dgm:prSet/>
      <dgm:spPr/>
      <dgm:t>
        <a:bodyPr/>
        <a:lstStyle/>
        <a:p>
          <a:r>
            <a:rPr lang="en-GB" b="0" i="0" dirty="0"/>
            <a:t>Minimum of 5 GCSEs at Grades 9 to 4 (Grades A* to C) including Mathematics, English Language and one Science or Engineering subject.</a:t>
          </a:r>
          <a:endParaRPr lang="en-US" dirty="0"/>
        </a:p>
      </dgm:t>
    </dgm:pt>
    <dgm:pt modelId="{C12208AE-D5F6-4697-AA25-3A1BA55A3C5C}" type="parTrans" cxnId="{2D3B2181-FC68-48F1-BF0C-41D47EF7FF79}">
      <dgm:prSet/>
      <dgm:spPr/>
      <dgm:t>
        <a:bodyPr/>
        <a:lstStyle/>
        <a:p>
          <a:endParaRPr lang="en-US"/>
        </a:p>
      </dgm:t>
    </dgm:pt>
    <dgm:pt modelId="{A252F61B-370B-4701-A914-1D577812733D}" type="sibTrans" cxnId="{2D3B2181-FC68-48F1-BF0C-41D47EF7FF79}">
      <dgm:prSet/>
      <dgm:spPr/>
      <dgm:t>
        <a:bodyPr/>
        <a:lstStyle/>
        <a:p>
          <a:endParaRPr lang="en-US"/>
        </a:p>
      </dgm:t>
    </dgm:pt>
    <dgm:pt modelId="{CB1EF54C-500E-4794-A6A3-7DC42DA567D8}">
      <dgm:prSet/>
      <dgm:spPr/>
      <dgm:t>
        <a:bodyPr/>
        <a:lstStyle/>
        <a:p>
          <a:r>
            <a:rPr lang="en-GB" b="0" i="0"/>
            <a:t>Minimum of 96 UCAS points at A-Level, STEM subjects preferred (e.g. Mathematics, Chemistry, Biology, Physics or Science) but not mandatory.</a:t>
          </a:r>
          <a:endParaRPr lang="en-US"/>
        </a:p>
      </dgm:t>
    </dgm:pt>
    <dgm:pt modelId="{63961A4E-4457-4D77-A2F4-B4B920A640A0}" type="parTrans" cxnId="{633AAD46-DB8F-42D5-889D-AADDCBB3D17D}">
      <dgm:prSet/>
      <dgm:spPr/>
      <dgm:t>
        <a:bodyPr/>
        <a:lstStyle/>
        <a:p>
          <a:endParaRPr lang="en-US"/>
        </a:p>
      </dgm:t>
    </dgm:pt>
    <dgm:pt modelId="{30121FFA-54B4-428F-B054-6F74E4148EDC}" type="sibTrans" cxnId="{633AAD46-DB8F-42D5-889D-AADDCBB3D17D}">
      <dgm:prSet/>
      <dgm:spPr/>
      <dgm:t>
        <a:bodyPr/>
        <a:lstStyle/>
        <a:p>
          <a:endParaRPr lang="en-US"/>
        </a:p>
      </dgm:t>
    </dgm:pt>
    <dgm:pt modelId="{B56B1E83-7B83-48C6-ADF0-A72E59040539}">
      <dgm:prSet/>
      <dgm:spPr/>
      <dgm:t>
        <a:bodyPr/>
        <a:lstStyle/>
        <a:p>
          <a:r>
            <a:rPr lang="en-GB" b="0" i="0"/>
            <a:t>Other Level 3 STEM qualifications may be considered.</a:t>
          </a:r>
          <a:endParaRPr lang="en-US"/>
        </a:p>
      </dgm:t>
    </dgm:pt>
    <dgm:pt modelId="{BC4A2135-5271-42BE-A864-84375B4DF4FC}" type="parTrans" cxnId="{74F5670E-660F-4024-B69F-35AB4C377C8A}">
      <dgm:prSet/>
      <dgm:spPr/>
      <dgm:t>
        <a:bodyPr/>
        <a:lstStyle/>
        <a:p>
          <a:endParaRPr lang="en-US"/>
        </a:p>
      </dgm:t>
    </dgm:pt>
    <dgm:pt modelId="{7BC80BAE-9347-465E-A034-1F04EBCADE23}" type="sibTrans" cxnId="{74F5670E-660F-4024-B69F-35AB4C377C8A}">
      <dgm:prSet/>
      <dgm:spPr/>
      <dgm:t>
        <a:bodyPr/>
        <a:lstStyle/>
        <a:p>
          <a:endParaRPr lang="en-US"/>
        </a:p>
      </dgm:t>
    </dgm:pt>
    <dgm:pt modelId="{2434F26C-95BB-4855-A137-42B2676F3124}">
      <dgm:prSet/>
      <dgm:spPr/>
      <dgm:t>
        <a:bodyPr/>
        <a:lstStyle/>
        <a:p>
          <a:r>
            <a:rPr lang="en-GB" b="0" i="0"/>
            <a:t>Vocational equivalents at level 3 or higher will also be considered as equivalent to UCAS points.</a:t>
          </a:r>
          <a:endParaRPr lang="en-US"/>
        </a:p>
      </dgm:t>
    </dgm:pt>
    <dgm:pt modelId="{1B47C4AA-E3C7-4164-AE7F-2CE152F970A9}" type="parTrans" cxnId="{F8ACE34D-1DF2-46CC-8C67-3CB8432C21F0}">
      <dgm:prSet/>
      <dgm:spPr/>
      <dgm:t>
        <a:bodyPr/>
        <a:lstStyle/>
        <a:p>
          <a:endParaRPr lang="en-US"/>
        </a:p>
      </dgm:t>
    </dgm:pt>
    <dgm:pt modelId="{623207F9-7F06-4CA7-9FFA-7CB979226850}" type="sibTrans" cxnId="{F8ACE34D-1DF2-46CC-8C67-3CB8432C21F0}">
      <dgm:prSet/>
      <dgm:spPr/>
      <dgm:t>
        <a:bodyPr/>
        <a:lstStyle/>
        <a:p>
          <a:endParaRPr lang="en-US"/>
        </a:p>
      </dgm:t>
    </dgm:pt>
    <dgm:pt modelId="{AB991F8A-3DD7-4D87-B3C5-116B1AC9492D}">
      <dgm:prSet/>
      <dgm:spPr/>
      <dgm:t>
        <a:bodyPr/>
        <a:lstStyle/>
        <a:p>
          <a:r>
            <a:rPr lang="en-GB" b="0" i="0" dirty="0"/>
            <a:t>If you do not have Mathematics at A Level then you must achieve a minimum of Grade 6 (Grade B) at GCSE (*not for Project Management).</a:t>
          </a:r>
          <a:endParaRPr lang="en-US" dirty="0"/>
        </a:p>
      </dgm:t>
    </dgm:pt>
    <dgm:pt modelId="{3F3456F0-B3B6-4583-AE8C-25544FF9C705}" type="parTrans" cxnId="{F2D66192-08C3-4651-8975-88CF976D8DC0}">
      <dgm:prSet/>
      <dgm:spPr/>
      <dgm:t>
        <a:bodyPr/>
        <a:lstStyle/>
        <a:p>
          <a:endParaRPr lang="en-US"/>
        </a:p>
      </dgm:t>
    </dgm:pt>
    <dgm:pt modelId="{B04D1C66-E9A7-4499-A714-4E36B76E6112}" type="sibTrans" cxnId="{F2D66192-08C3-4651-8975-88CF976D8DC0}">
      <dgm:prSet/>
      <dgm:spPr/>
      <dgm:t>
        <a:bodyPr/>
        <a:lstStyle/>
        <a:p>
          <a:endParaRPr lang="en-US"/>
        </a:p>
      </dgm:t>
    </dgm:pt>
    <dgm:pt modelId="{8B36E406-BEE1-4616-9DB4-C6DF94A3E2A4}" type="pres">
      <dgm:prSet presAssocID="{4075BA6E-F9E2-40B5-9FEF-FAE1E1CF6071}" presName="diagram" presStyleCnt="0">
        <dgm:presLayoutVars>
          <dgm:dir/>
          <dgm:resizeHandles val="exact"/>
        </dgm:presLayoutVars>
      </dgm:prSet>
      <dgm:spPr/>
    </dgm:pt>
    <dgm:pt modelId="{F666A395-DA23-4B7A-B06E-F3EB6447F9A5}" type="pres">
      <dgm:prSet presAssocID="{17B64041-6ADD-4CCA-BB8E-2C1A60AA5956}" presName="node" presStyleLbl="node1" presStyleIdx="0" presStyleCnt="5">
        <dgm:presLayoutVars>
          <dgm:bulletEnabled val="1"/>
        </dgm:presLayoutVars>
      </dgm:prSet>
      <dgm:spPr/>
    </dgm:pt>
    <dgm:pt modelId="{4A515078-C14A-40EC-B50C-7B807B27CE7F}" type="pres">
      <dgm:prSet presAssocID="{A252F61B-370B-4701-A914-1D577812733D}" presName="sibTrans" presStyleCnt="0"/>
      <dgm:spPr/>
    </dgm:pt>
    <dgm:pt modelId="{76635776-2677-4368-8350-724793F249C3}" type="pres">
      <dgm:prSet presAssocID="{CB1EF54C-500E-4794-A6A3-7DC42DA567D8}" presName="node" presStyleLbl="node1" presStyleIdx="1" presStyleCnt="5">
        <dgm:presLayoutVars>
          <dgm:bulletEnabled val="1"/>
        </dgm:presLayoutVars>
      </dgm:prSet>
      <dgm:spPr/>
    </dgm:pt>
    <dgm:pt modelId="{E6191D73-B01A-4435-9FF7-2F7A9C72A04B}" type="pres">
      <dgm:prSet presAssocID="{30121FFA-54B4-428F-B054-6F74E4148EDC}" presName="sibTrans" presStyleCnt="0"/>
      <dgm:spPr/>
    </dgm:pt>
    <dgm:pt modelId="{0FBA5C06-464D-4F10-B8FB-3A12544819BB}" type="pres">
      <dgm:prSet presAssocID="{B56B1E83-7B83-48C6-ADF0-A72E59040539}" presName="node" presStyleLbl="node1" presStyleIdx="2" presStyleCnt="5">
        <dgm:presLayoutVars>
          <dgm:bulletEnabled val="1"/>
        </dgm:presLayoutVars>
      </dgm:prSet>
      <dgm:spPr/>
    </dgm:pt>
    <dgm:pt modelId="{18B2B61A-5705-4F22-8F8B-27A79D51AA27}" type="pres">
      <dgm:prSet presAssocID="{7BC80BAE-9347-465E-A034-1F04EBCADE23}" presName="sibTrans" presStyleCnt="0"/>
      <dgm:spPr/>
    </dgm:pt>
    <dgm:pt modelId="{6E278494-AC07-4D42-B53B-55360F417FC9}" type="pres">
      <dgm:prSet presAssocID="{2434F26C-95BB-4855-A137-42B2676F3124}" presName="node" presStyleLbl="node1" presStyleIdx="3" presStyleCnt="5">
        <dgm:presLayoutVars>
          <dgm:bulletEnabled val="1"/>
        </dgm:presLayoutVars>
      </dgm:prSet>
      <dgm:spPr/>
    </dgm:pt>
    <dgm:pt modelId="{878DF43D-9C7C-47F2-A38D-F67C885E74BB}" type="pres">
      <dgm:prSet presAssocID="{623207F9-7F06-4CA7-9FFA-7CB979226850}" presName="sibTrans" presStyleCnt="0"/>
      <dgm:spPr/>
    </dgm:pt>
    <dgm:pt modelId="{DA22F3FB-32F3-46A2-AD9A-AB0E5E11A405}" type="pres">
      <dgm:prSet presAssocID="{AB991F8A-3DD7-4D87-B3C5-116B1AC9492D}" presName="node" presStyleLbl="node1" presStyleIdx="4" presStyleCnt="5">
        <dgm:presLayoutVars>
          <dgm:bulletEnabled val="1"/>
        </dgm:presLayoutVars>
      </dgm:prSet>
      <dgm:spPr/>
    </dgm:pt>
  </dgm:ptLst>
  <dgm:cxnLst>
    <dgm:cxn modelId="{74F5670E-660F-4024-B69F-35AB4C377C8A}" srcId="{4075BA6E-F9E2-40B5-9FEF-FAE1E1CF6071}" destId="{B56B1E83-7B83-48C6-ADF0-A72E59040539}" srcOrd="2" destOrd="0" parTransId="{BC4A2135-5271-42BE-A864-84375B4DF4FC}" sibTransId="{7BC80BAE-9347-465E-A034-1F04EBCADE23}"/>
    <dgm:cxn modelId="{34F3D026-B948-40A9-86CF-3E836CB62B8D}" type="presOf" srcId="{AB991F8A-3DD7-4D87-B3C5-116B1AC9492D}" destId="{DA22F3FB-32F3-46A2-AD9A-AB0E5E11A405}" srcOrd="0" destOrd="0" presId="urn:microsoft.com/office/officeart/2005/8/layout/default"/>
    <dgm:cxn modelId="{9D15B143-D8D9-45C9-A5D9-334B18BDFB23}" type="presOf" srcId="{B56B1E83-7B83-48C6-ADF0-A72E59040539}" destId="{0FBA5C06-464D-4F10-B8FB-3A12544819BB}" srcOrd="0" destOrd="0" presId="urn:microsoft.com/office/officeart/2005/8/layout/default"/>
    <dgm:cxn modelId="{633AAD46-DB8F-42D5-889D-AADDCBB3D17D}" srcId="{4075BA6E-F9E2-40B5-9FEF-FAE1E1CF6071}" destId="{CB1EF54C-500E-4794-A6A3-7DC42DA567D8}" srcOrd="1" destOrd="0" parTransId="{63961A4E-4457-4D77-A2F4-B4B920A640A0}" sibTransId="{30121FFA-54B4-428F-B054-6F74E4148EDC}"/>
    <dgm:cxn modelId="{F8ACE34D-1DF2-46CC-8C67-3CB8432C21F0}" srcId="{4075BA6E-F9E2-40B5-9FEF-FAE1E1CF6071}" destId="{2434F26C-95BB-4855-A137-42B2676F3124}" srcOrd="3" destOrd="0" parTransId="{1B47C4AA-E3C7-4164-AE7F-2CE152F970A9}" sibTransId="{623207F9-7F06-4CA7-9FFA-7CB979226850}"/>
    <dgm:cxn modelId="{C5BEB476-C895-4427-A4D2-5A113D58C7E8}" type="presOf" srcId="{17B64041-6ADD-4CCA-BB8E-2C1A60AA5956}" destId="{F666A395-DA23-4B7A-B06E-F3EB6447F9A5}" srcOrd="0" destOrd="0" presId="urn:microsoft.com/office/officeart/2005/8/layout/default"/>
    <dgm:cxn modelId="{30999479-5AF7-433D-80A7-71286B80F363}" type="presOf" srcId="{4075BA6E-F9E2-40B5-9FEF-FAE1E1CF6071}" destId="{8B36E406-BEE1-4616-9DB4-C6DF94A3E2A4}" srcOrd="0" destOrd="0" presId="urn:microsoft.com/office/officeart/2005/8/layout/default"/>
    <dgm:cxn modelId="{2D3B2181-FC68-48F1-BF0C-41D47EF7FF79}" srcId="{4075BA6E-F9E2-40B5-9FEF-FAE1E1CF6071}" destId="{17B64041-6ADD-4CCA-BB8E-2C1A60AA5956}" srcOrd="0" destOrd="0" parTransId="{C12208AE-D5F6-4697-AA25-3A1BA55A3C5C}" sibTransId="{A252F61B-370B-4701-A914-1D577812733D}"/>
    <dgm:cxn modelId="{F2D66192-08C3-4651-8975-88CF976D8DC0}" srcId="{4075BA6E-F9E2-40B5-9FEF-FAE1E1CF6071}" destId="{AB991F8A-3DD7-4D87-B3C5-116B1AC9492D}" srcOrd="4" destOrd="0" parTransId="{3F3456F0-B3B6-4583-AE8C-25544FF9C705}" sibTransId="{B04D1C66-E9A7-4499-A714-4E36B76E6112}"/>
    <dgm:cxn modelId="{29F70EA1-89C6-4FB3-A457-04DD0C4F95BC}" type="presOf" srcId="{CB1EF54C-500E-4794-A6A3-7DC42DA567D8}" destId="{76635776-2677-4368-8350-724793F249C3}" srcOrd="0" destOrd="0" presId="urn:microsoft.com/office/officeart/2005/8/layout/default"/>
    <dgm:cxn modelId="{F2A90AE5-AB5C-4B91-9D06-3D2B938C9437}" type="presOf" srcId="{2434F26C-95BB-4855-A137-42B2676F3124}" destId="{6E278494-AC07-4D42-B53B-55360F417FC9}" srcOrd="0" destOrd="0" presId="urn:microsoft.com/office/officeart/2005/8/layout/default"/>
    <dgm:cxn modelId="{964F96DF-B295-47B1-92A6-76959C3BE136}" type="presParOf" srcId="{8B36E406-BEE1-4616-9DB4-C6DF94A3E2A4}" destId="{F666A395-DA23-4B7A-B06E-F3EB6447F9A5}" srcOrd="0" destOrd="0" presId="urn:microsoft.com/office/officeart/2005/8/layout/default"/>
    <dgm:cxn modelId="{5E5A5387-CF02-4D7C-9F54-35B9CC573EA7}" type="presParOf" srcId="{8B36E406-BEE1-4616-9DB4-C6DF94A3E2A4}" destId="{4A515078-C14A-40EC-B50C-7B807B27CE7F}" srcOrd="1" destOrd="0" presId="urn:microsoft.com/office/officeart/2005/8/layout/default"/>
    <dgm:cxn modelId="{A34B6CDF-9747-4DCB-A9FD-76FF41DEE3FE}" type="presParOf" srcId="{8B36E406-BEE1-4616-9DB4-C6DF94A3E2A4}" destId="{76635776-2677-4368-8350-724793F249C3}" srcOrd="2" destOrd="0" presId="urn:microsoft.com/office/officeart/2005/8/layout/default"/>
    <dgm:cxn modelId="{5D4486FC-E220-47D1-974F-2EEA0B223ADB}" type="presParOf" srcId="{8B36E406-BEE1-4616-9DB4-C6DF94A3E2A4}" destId="{E6191D73-B01A-4435-9FF7-2F7A9C72A04B}" srcOrd="3" destOrd="0" presId="urn:microsoft.com/office/officeart/2005/8/layout/default"/>
    <dgm:cxn modelId="{97401E10-1A01-42C0-8581-707582816D3F}" type="presParOf" srcId="{8B36E406-BEE1-4616-9DB4-C6DF94A3E2A4}" destId="{0FBA5C06-464D-4F10-B8FB-3A12544819BB}" srcOrd="4" destOrd="0" presId="urn:microsoft.com/office/officeart/2005/8/layout/default"/>
    <dgm:cxn modelId="{60AB193A-E90F-4AB3-9A65-F9F2A955D3B9}" type="presParOf" srcId="{8B36E406-BEE1-4616-9DB4-C6DF94A3E2A4}" destId="{18B2B61A-5705-4F22-8F8B-27A79D51AA27}" srcOrd="5" destOrd="0" presId="urn:microsoft.com/office/officeart/2005/8/layout/default"/>
    <dgm:cxn modelId="{AE362FF8-CB23-4048-978D-941CB72A30B5}" type="presParOf" srcId="{8B36E406-BEE1-4616-9DB4-C6DF94A3E2A4}" destId="{6E278494-AC07-4D42-B53B-55360F417FC9}" srcOrd="6" destOrd="0" presId="urn:microsoft.com/office/officeart/2005/8/layout/default"/>
    <dgm:cxn modelId="{5E244A6D-3815-4ABA-AF67-B936014B7B0F}" type="presParOf" srcId="{8B36E406-BEE1-4616-9DB4-C6DF94A3E2A4}" destId="{878DF43D-9C7C-47F2-A38D-F67C885E74BB}" srcOrd="7" destOrd="0" presId="urn:microsoft.com/office/officeart/2005/8/layout/default"/>
    <dgm:cxn modelId="{7EEB64BC-A8A1-437A-844E-523013F8C0EF}" type="presParOf" srcId="{8B36E406-BEE1-4616-9DB4-C6DF94A3E2A4}" destId="{DA22F3FB-32F3-46A2-AD9A-AB0E5E11A405}" srcOrd="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8C5B9BA-FACF-4730-A6DD-F406F13D3504}" type="doc">
      <dgm:prSet loTypeId="urn:microsoft.com/office/officeart/2016/7/layout/RepeatingBendingProcessNew" loCatId="process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6C9B1CF0-CC64-400C-9C6F-28C5C396F7A3}">
      <dgm:prSet/>
      <dgm:spPr/>
      <dgm:t>
        <a:bodyPr/>
        <a:lstStyle/>
        <a:p>
          <a:r>
            <a:rPr lang="en-GB" b="0" i="0" dirty="0"/>
            <a:t>Applications through SL careers website </a:t>
          </a:r>
          <a:endParaRPr lang="en-US" dirty="0"/>
        </a:p>
      </dgm:t>
    </dgm:pt>
    <dgm:pt modelId="{930F9E54-478C-4748-9327-33E77269E009}" type="parTrans" cxnId="{CC7CA597-0AA8-4D1D-9046-F4212121A43F}">
      <dgm:prSet/>
      <dgm:spPr/>
      <dgm:t>
        <a:bodyPr/>
        <a:lstStyle/>
        <a:p>
          <a:endParaRPr lang="en-US"/>
        </a:p>
      </dgm:t>
    </dgm:pt>
    <dgm:pt modelId="{DDEDAF30-83CF-492F-99B0-AC86D2786116}" type="sibTrans" cxnId="{CC7CA597-0AA8-4D1D-9046-F4212121A43F}">
      <dgm:prSet/>
      <dgm:spPr/>
      <dgm:t>
        <a:bodyPr/>
        <a:lstStyle/>
        <a:p>
          <a:endParaRPr lang="en-US"/>
        </a:p>
      </dgm:t>
    </dgm:pt>
    <dgm:pt modelId="{EFDE7172-A053-43CE-B2BC-257E7F07E31D}">
      <dgm:prSet/>
      <dgm:spPr/>
      <dgm:t>
        <a:bodyPr/>
        <a:lstStyle/>
        <a:p>
          <a:r>
            <a:rPr lang="en-GB" b="0" i="0" dirty="0"/>
            <a:t>Application Review</a:t>
          </a:r>
          <a:endParaRPr lang="en-US" dirty="0"/>
        </a:p>
      </dgm:t>
    </dgm:pt>
    <dgm:pt modelId="{B6865E81-99A2-42FE-959D-ED157F0930F4}" type="parTrans" cxnId="{DEB45574-EE55-4EB1-B9DA-3AC72AA1D9AA}">
      <dgm:prSet/>
      <dgm:spPr/>
      <dgm:t>
        <a:bodyPr/>
        <a:lstStyle/>
        <a:p>
          <a:endParaRPr lang="en-US"/>
        </a:p>
      </dgm:t>
    </dgm:pt>
    <dgm:pt modelId="{7E433B0C-7EC0-440D-A902-B4B3468CCE3B}" type="sibTrans" cxnId="{DEB45574-EE55-4EB1-B9DA-3AC72AA1D9AA}">
      <dgm:prSet/>
      <dgm:spPr/>
      <dgm:t>
        <a:bodyPr/>
        <a:lstStyle/>
        <a:p>
          <a:endParaRPr lang="en-US"/>
        </a:p>
      </dgm:t>
    </dgm:pt>
    <dgm:pt modelId="{E0F36A41-1FEA-4CA3-B8D1-519E53F4F841}">
      <dgm:prSet/>
      <dgm:spPr/>
      <dgm:t>
        <a:bodyPr/>
        <a:lstStyle/>
        <a:p>
          <a:r>
            <a:rPr lang="en-GB" b="0" i="0" dirty="0"/>
            <a:t>Online Values &amp; Strengths based situational judgement assessment </a:t>
          </a:r>
          <a:endParaRPr lang="en-US" dirty="0"/>
        </a:p>
      </dgm:t>
    </dgm:pt>
    <dgm:pt modelId="{9130777F-FB7E-4486-B5AA-D448736D24B9}" type="parTrans" cxnId="{CDD5DBF8-E4E1-4118-BFD5-1FF25FC92DAB}">
      <dgm:prSet/>
      <dgm:spPr/>
      <dgm:t>
        <a:bodyPr/>
        <a:lstStyle/>
        <a:p>
          <a:endParaRPr lang="en-US"/>
        </a:p>
      </dgm:t>
    </dgm:pt>
    <dgm:pt modelId="{9B48DF0A-94B3-496D-B506-7A97BFB9AB6E}" type="sibTrans" cxnId="{CDD5DBF8-E4E1-4118-BFD5-1FF25FC92DAB}">
      <dgm:prSet/>
      <dgm:spPr/>
      <dgm:t>
        <a:bodyPr/>
        <a:lstStyle/>
        <a:p>
          <a:endParaRPr lang="en-US"/>
        </a:p>
      </dgm:t>
    </dgm:pt>
    <dgm:pt modelId="{800C4CF3-1842-41A1-BC5E-1E9140683E81}">
      <dgm:prSet/>
      <dgm:spPr/>
      <dgm:t>
        <a:bodyPr/>
        <a:lstStyle/>
        <a:p>
          <a:r>
            <a:rPr lang="en-GB" b="0" i="0" dirty="0"/>
            <a:t>Interviews</a:t>
          </a:r>
        </a:p>
        <a:p>
          <a:r>
            <a:rPr lang="en-GB" b="0" i="1" dirty="0"/>
            <a:t>March 2024 </a:t>
          </a:r>
          <a:endParaRPr lang="en-US" i="1" dirty="0"/>
        </a:p>
      </dgm:t>
    </dgm:pt>
    <dgm:pt modelId="{74A9DBB5-A26F-47AB-B85B-4FCD189B0030}" type="parTrans" cxnId="{AA3C7527-782D-44A1-BC23-E4332A3EBDD6}">
      <dgm:prSet/>
      <dgm:spPr/>
      <dgm:t>
        <a:bodyPr/>
        <a:lstStyle/>
        <a:p>
          <a:endParaRPr lang="en-US"/>
        </a:p>
      </dgm:t>
    </dgm:pt>
    <dgm:pt modelId="{0718B7BB-C625-4822-910F-F24CD8E7CAD0}" type="sibTrans" cxnId="{AA3C7527-782D-44A1-BC23-E4332A3EBDD6}">
      <dgm:prSet/>
      <dgm:spPr/>
      <dgm:t>
        <a:bodyPr/>
        <a:lstStyle/>
        <a:p>
          <a:endParaRPr lang="en-US"/>
        </a:p>
      </dgm:t>
    </dgm:pt>
    <dgm:pt modelId="{C3E79AE6-F3E9-463B-9D2B-E2B10DFB3EC7}">
      <dgm:prSet/>
      <dgm:spPr/>
      <dgm:t>
        <a:bodyPr/>
        <a:lstStyle/>
        <a:p>
          <a:r>
            <a:rPr lang="en-GB" b="0" i="0" dirty="0"/>
            <a:t>Final Selection </a:t>
          </a:r>
          <a:endParaRPr lang="en-US" dirty="0"/>
        </a:p>
      </dgm:t>
    </dgm:pt>
    <dgm:pt modelId="{6763F8E4-93E1-4C61-8A21-F3E7332CBF81}" type="parTrans" cxnId="{B174973E-F15C-4A6D-B6A7-F3EB608A9EBA}">
      <dgm:prSet/>
      <dgm:spPr/>
      <dgm:t>
        <a:bodyPr/>
        <a:lstStyle/>
        <a:p>
          <a:endParaRPr lang="en-US"/>
        </a:p>
      </dgm:t>
    </dgm:pt>
    <dgm:pt modelId="{8422A489-FEB6-466E-A550-808190E451E2}" type="sibTrans" cxnId="{B174973E-F15C-4A6D-B6A7-F3EB608A9EBA}">
      <dgm:prSet/>
      <dgm:spPr/>
      <dgm:t>
        <a:bodyPr/>
        <a:lstStyle/>
        <a:p>
          <a:endParaRPr lang="en-US"/>
        </a:p>
      </dgm:t>
    </dgm:pt>
    <dgm:pt modelId="{3FDDE12B-0916-4503-8F6E-36F84B0D3829}">
      <dgm:prSet/>
      <dgm:spPr/>
      <dgm:t>
        <a:bodyPr/>
        <a:lstStyle/>
        <a:p>
          <a:r>
            <a:rPr lang="en-GB" b="0" i="0" dirty="0"/>
            <a:t>Conditional Offers </a:t>
          </a:r>
          <a:endParaRPr lang="en-US" dirty="0"/>
        </a:p>
      </dgm:t>
    </dgm:pt>
    <dgm:pt modelId="{3815A39B-F217-4E32-834F-E9A414770E1E}" type="parTrans" cxnId="{B541D459-3F0B-4C69-9FD5-5EAB148F1F58}">
      <dgm:prSet/>
      <dgm:spPr/>
      <dgm:t>
        <a:bodyPr/>
        <a:lstStyle/>
        <a:p>
          <a:endParaRPr lang="en-US"/>
        </a:p>
      </dgm:t>
    </dgm:pt>
    <dgm:pt modelId="{6389C0B6-931A-431A-A69C-29B536DE4384}" type="sibTrans" cxnId="{B541D459-3F0B-4C69-9FD5-5EAB148F1F58}">
      <dgm:prSet/>
      <dgm:spPr/>
      <dgm:t>
        <a:bodyPr/>
        <a:lstStyle/>
        <a:p>
          <a:endParaRPr lang="en-US"/>
        </a:p>
      </dgm:t>
    </dgm:pt>
    <dgm:pt modelId="{D45FCB00-77F9-4BE1-A472-28CB451D50D3}">
      <dgm:prSet/>
      <dgm:spPr/>
      <dgm:t>
        <a:bodyPr/>
        <a:lstStyle/>
        <a:p>
          <a:r>
            <a:rPr lang="en-GB" b="0" i="0" dirty="0"/>
            <a:t>Results / confirmations / clearing </a:t>
          </a:r>
          <a:endParaRPr lang="en-US" dirty="0"/>
        </a:p>
      </dgm:t>
    </dgm:pt>
    <dgm:pt modelId="{A06550A0-7068-4636-A296-BD1A4607603B}" type="parTrans" cxnId="{E58F321D-7700-48FE-8396-C1F9B5A23954}">
      <dgm:prSet/>
      <dgm:spPr/>
      <dgm:t>
        <a:bodyPr/>
        <a:lstStyle/>
        <a:p>
          <a:endParaRPr lang="en-US"/>
        </a:p>
      </dgm:t>
    </dgm:pt>
    <dgm:pt modelId="{483ED84D-0927-4676-A4E6-DCDD3145D59A}" type="sibTrans" cxnId="{E58F321D-7700-48FE-8396-C1F9B5A23954}">
      <dgm:prSet/>
      <dgm:spPr/>
      <dgm:t>
        <a:bodyPr/>
        <a:lstStyle/>
        <a:p>
          <a:endParaRPr lang="en-US"/>
        </a:p>
      </dgm:t>
    </dgm:pt>
    <dgm:pt modelId="{B5A0F578-8683-4FEB-A490-E03447A5E581}">
      <dgm:prSet/>
      <dgm:spPr/>
      <dgm:t>
        <a:bodyPr/>
        <a:lstStyle/>
        <a:p>
          <a:r>
            <a:rPr lang="en-US" dirty="0"/>
            <a:t>Start Date: Expected September 2024</a:t>
          </a:r>
        </a:p>
      </dgm:t>
    </dgm:pt>
    <dgm:pt modelId="{D0D77097-6E5A-4825-B1C8-AF3B3A558EB2}" type="parTrans" cxnId="{ED3FEF22-2DAC-43D6-BC10-CD9E078C0584}">
      <dgm:prSet/>
      <dgm:spPr/>
      <dgm:t>
        <a:bodyPr/>
        <a:lstStyle/>
        <a:p>
          <a:endParaRPr lang="en-GB"/>
        </a:p>
      </dgm:t>
    </dgm:pt>
    <dgm:pt modelId="{C48B8F8D-481E-4D2F-8742-B0C3C77024E6}" type="sibTrans" cxnId="{ED3FEF22-2DAC-43D6-BC10-CD9E078C0584}">
      <dgm:prSet/>
      <dgm:spPr/>
      <dgm:t>
        <a:bodyPr/>
        <a:lstStyle/>
        <a:p>
          <a:endParaRPr lang="en-GB"/>
        </a:p>
      </dgm:t>
    </dgm:pt>
    <dgm:pt modelId="{BDE1647E-A362-4DC0-8BBD-74F5D0FEFAF4}" type="pres">
      <dgm:prSet presAssocID="{68C5B9BA-FACF-4730-A6DD-F406F13D3504}" presName="Name0" presStyleCnt="0">
        <dgm:presLayoutVars>
          <dgm:dir/>
          <dgm:resizeHandles val="exact"/>
        </dgm:presLayoutVars>
      </dgm:prSet>
      <dgm:spPr/>
    </dgm:pt>
    <dgm:pt modelId="{5776AA77-A511-43A6-B3F0-B555A9E7D35E}" type="pres">
      <dgm:prSet presAssocID="{6C9B1CF0-CC64-400C-9C6F-28C5C396F7A3}" presName="node" presStyleLbl="node1" presStyleIdx="0" presStyleCnt="8">
        <dgm:presLayoutVars>
          <dgm:bulletEnabled val="1"/>
        </dgm:presLayoutVars>
      </dgm:prSet>
      <dgm:spPr/>
    </dgm:pt>
    <dgm:pt modelId="{7771E6D4-7956-402D-9DEF-5FA20D5E6D9B}" type="pres">
      <dgm:prSet presAssocID="{DDEDAF30-83CF-492F-99B0-AC86D2786116}" presName="sibTrans" presStyleLbl="sibTrans1D1" presStyleIdx="0" presStyleCnt="7"/>
      <dgm:spPr/>
    </dgm:pt>
    <dgm:pt modelId="{7FE8D416-3CD5-4087-A822-0752D46E979D}" type="pres">
      <dgm:prSet presAssocID="{DDEDAF30-83CF-492F-99B0-AC86D2786116}" presName="connectorText" presStyleLbl="sibTrans1D1" presStyleIdx="0" presStyleCnt="7"/>
      <dgm:spPr/>
    </dgm:pt>
    <dgm:pt modelId="{CD7610E3-70FE-439D-91C2-AEF2BDCFDDF1}" type="pres">
      <dgm:prSet presAssocID="{EFDE7172-A053-43CE-B2BC-257E7F07E31D}" presName="node" presStyleLbl="node1" presStyleIdx="1" presStyleCnt="8">
        <dgm:presLayoutVars>
          <dgm:bulletEnabled val="1"/>
        </dgm:presLayoutVars>
      </dgm:prSet>
      <dgm:spPr/>
    </dgm:pt>
    <dgm:pt modelId="{90A34DB6-E86F-4F2A-B82C-321236BC9728}" type="pres">
      <dgm:prSet presAssocID="{7E433B0C-7EC0-440D-A902-B4B3468CCE3B}" presName="sibTrans" presStyleLbl="sibTrans1D1" presStyleIdx="1" presStyleCnt="7"/>
      <dgm:spPr/>
    </dgm:pt>
    <dgm:pt modelId="{1353440F-8B04-4030-B038-0C9C87C2AA24}" type="pres">
      <dgm:prSet presAssocID="{7E433B0C-7EC0-440D-A902-B4B3468CCE3B}" presName="connectorText" presStyleLbl="sibTrans1D1" presStyleIdx="1" presStyleCnt="7"/>
      <dgm:spPr/>
    </dgm:pt>
    <dgm:pt modelId="{3CC1DF64-0076-4E3F-B4D6-CC013D85A8DA}" type="pres">
      <dgm:prSet presAssocID="{E0F36A41-1FEA-4CA3-B8D1-519E53F4F841}" presName="node" presStyleLbl="node1" presStyleIdx="2" presStyleCnt="8">
        <dgm:presLayoutVars>
          <dgm:bulletEnabled val="1"/>
        </dgm:presLayoutVars>
      </dgm:prSet>
      <dgm:spPr/>
    </dgm:pt>
    <dgm:pt modelId="{26716DCA-C7A2-4E8D-B1A3-77063674D2DB}" type="pres">
      <dgm:prSet presAssocID="{9B48DF0A-94B3-496D-B506-7A97BFB9AB6E}" presName="sibTrans" presStyleLbl="sibTrans1D1" presStyleIdx="2" presStyleCnt="7"/>
      <dgm:spPr/>
    </dgm:pt>
    <dgm:pt modelId="{AB1552CE-9268-4AD4-A617-DAA7AFF976C8}" type="pres">
      <dgm:prSet presAssocID="{9B48DF0A-94B3-496D-B506-7A97BFB9AB6E}" presName="connectorText" presStyleLbl="sibTrans1D1" presStyleIdx="2" presStyleCnt="7"/>
      <dgm:spPr/>
    </dgm:pt>
    <dgm:pt modelId="{2460DC87-D38D-4AA1-8DBF-1BA330D34D43}" type="pres">
      <dgm:prSet presAssocID="{800C4CF3-1842-41A1-BC5E-1E9140683E81}" presName="node" presStyleLbl="node1" presStyleIdx="3" presStyleCnt="8">
        <dgm:presLayoutVars>
          <dgm:bulletEnabled val="1"/>
        </dgm:presLayoutVars>
      </dgm:prSet>
      <dgm:spPr/>
    </dgm:pt>
    <dgm:pt modelId="{B5C669FF-1AC9-4976-B77C-4169FA392128}" type="pres">
      <dgm:prSet presAssocID="{0718B7BB-C625-4822-910F-F24CD8E7CAD0}" presName="sibTrans" presStyleLbl="sibTrans1D1" presStyleIdx="3" presStyleCnt="7"/>
      <dgm:spPr/>
    </dgm:pt>
    <dgm:pt modelId="{84B16197-9886-4EFB-A98A-384DF81D38AF}" type="pres">
      <dgm:prSet presAssocID="{0718B7BB-C625-4822-910F-F24CD8E7CAD0}" presName="connectorText" presStyleLbl="sibTrans1D1" presStyleIdx="3" presStyleCnt="7"/>
      <dgm:spPr/>
    </dgm:pt>
    <dgm:pt modelId="{1285E224-DE2F-4280-BB7F-B4B062B78354}" type="pres">
      <dgm:prSet presAssocID="{C3E79AE6-F3E9-463B-9D2B-E2B10DFB3EC7}" presName="node" presStyleLbl="node1" presStyleIdx="4" presStyleCnt="8">
        <dgm:presLayoutVars>
          <dgm:bulletEnabled val="1"/>
        </dgm:presLayoutVars>
      </dgm:prSet>
      <dgm:spPr/>
    </dgm:pt>
    <dgm:pt modelId="{48364587-DE63-4D17-B03E-32B9EACBA548}" type="pres">
      <dgm:prSet presAssocID="{8422A489-FEB6-466E-A550-808190E451E2}" presName="sibTrans" presStyleLbl="sibTrans1D1" presStyleIdx="4" presStyleCnt="7"/>
      <dgm:spPr/>
    </dgm:pt>
    <dgm:pt modelId="{E97578D0-C8FF-4171-8835-2241BCF5AF0C}" type="pres">
      <dgm:prSet presAssocID="{8422A489-FEB6-466E-A550-808190E451E2}" presName="connectorText" presStyleLbl="sibTrans1D1" presStyleIdx="4" presStyleCnt="7"/>
      <dgm:spPr/>
    </dgm:pt>
    <dgm:pt modelId="{E454A1E5-8A59-4D88-BDA3-1B5CB2716EB3}" type="pres">
      <dgm:prSet presAssocID="{3FDDE12B-0916-4503-8F6E-36F84B0D3829}" presName="node" presStyleLbl="node1" presStyleIdx="5" presStyleCnt="8">
        <dgm:presLayoutVars>
          <dgm:bulletEnabled val="1"/>
        </dgm:presLayoutVars>
      </dgm:prSet>
      <dgm:spPr/>
    </dgm:pt>
    <dgm:pt modelId="{A89A18DC-F474-4731-9555-D466A8C620B6}" type="pres">
      <dgm:prSet presAssocID="{6389C0B6-931A-431A-A69C-29B536DE4384}" presName="sibTrans" presStyleLbl="sibTrans1D1" presStyleIdx="5" presStyleCnt="7"/>
      <dgm:spPr/>
    </dgm:pt>
    <dgm:pt modelId="{293B7067-F783-44BB-9077-4682722A0B12}" type="pres">
      <dgm:prSet presAssocID="{6389C0B6-931A-431A-A69C-29B536DE4384}" presName="connectorText" presStyleLbl="sibTrans1D1" presStyleIdx="5" presStyleCnt="7"/>
      <dgm:spPr/>
    </dgm:pt>
    <dgm:pt modelId="{1F6EE78F-AA56-4BAC-9422-431D3F9E3294}" type="pres">
      <dgm:prSet presAssocID="{D45FCB00-77F9-4BE1-A472-28CB451D50D3}" presName="node" presStyleLbl="node1" presStyleIdx="6" presStyleCnt="8">
        <dgm:presLayoutVars>
          <dgm:bulletEnabled val="1"/>
        </dgm:presLayoutVars>
      </dgm:prSet>
      <dgm:spPr/>
    </dgm:pt>
    <dgm:pt modelId="{B8513C40-3828-420A-9FDE-44C9855E758A}" type="pres">
      <dgm:prSet presAssocID="{483ED84D-0927-4676-A4E6-DCDD3145D59A}" presName="sibTrans" presStyleLbl="sibTrans1D1" presStyleIdx="6" presStyleCnt="7"/>
      <dgm:spPr/>
    </dgm:pt>
    <dgm:pt modelId="{144BE0E9-56D7-488F-A0BD-ADD978910FAB}" type="pres">
      <dgm:prSet presAssocID="{483ED84D-0927-4676-A4E6-DCDD3145D59A}" presName="connectorText" presStyleLbl="sibTrans1D1" presStyleIdx="6" presStyleCnt="7"/>
      <dgm:spPr/>
    </dgm:pt>
    <dgm:pt modelId="{68759589-565D-4460-809D-C508F20C8183}" type="pres">
      <dgm:prSet presAssocID="{B5A0F578-8683-4FEB-A490-E03447A5E581}" presName="node" presStyleLbl="node1" presStyleIdx="7" presStyleCnt="8">
        <dgm:presLayoutVars>
          <dgm:bulletEnabled val="1"/>
        </dgm:presLayoutVars>
      </dgm:prSet>
      <dgm:spPr/>
    </dgm:pt>
  </dgm:ptLst>
  <dgm:cxnLst>
    <dgm:cxn modelId="{A11BEC02-DF04-4121-92A4-67186F301C39}" type="presOf" srcId="{EFDE7172-A053-43CE-B2BC-257E7F07E31D}" destId="{CD7610E3-70FE-439D-91C2-AEF2BDCFDDF1}" srcOrd="0" destOrd="0" presId="urn:microsoft.com/office/officeart/2016/7/layout/RepeatingBendingProcessNew"/>
    <dgm:cxn modelId="{3777EE05-871A-4D85-9198-32B19CB25C64}" type="presOf" srcId="{483ED84D-0927-4676-A4E6-DCDD3145D59A}" destId="{144BE0E9-56D7-488F-A0BD-ADD978910FAB}" srcOrd="1" destOrd="0" presId="urn:microsoft.com/office/officeart/2016/7/layout/RepeatingBendingProcessNew"/>
    <dgm:cxn modelId="{19B36408-0A79-4C2A-B062-3243F7AB3BEB}" type="presOf" srcId="{8422A489-FEB6-466E-A550-808190E451E2}" destId="{E97578D0-C8FF-4171-8835-2241BCF5AF0C}" srcOrd="1" destOrd="0" presId="urn:microsoft.com/office/officeart/2016/7/layout/RepeatingBendingProcessNew"/>
    <dgm:cxn modelId="{D4168A09-C304-4AF4-9A54-B978FFB75BB6}" type="presOf" srcId="{E0F36A41-1FEA-4CA3-B8D1-519E53F4F841}" destId="{3CC1DF64-0076-4E3F-B4D6-CC013D85A8DA}" srcOrd="0" destOrd="0" presId="urn:microsoft.com/office/officeart/2016/7/layout/RepeatingBendingProcessNew"/>
    <dgm:cxn modelId="{67BF090E-45C9-4E50-BC91-C8D9BCD75E3B}" type="presOf" srcId="{7E433B0C-7EC0-440D-A902-B4B3468CCE3B}" destId="{1353440F-8B04-4030-B038-0C9C87C2AA24}" srcOrd="1" destOrd="0" presId="urn:microsoft.com/office/officeart/2016/7/layout/RepeatingBendingProcessNew"/>
    <dgm:cxn modelId="{E58F321D-7700-48FE-8396-C1F9B5A23954}" srcId="{68C5B9BA-FACF-4730-A6DD-F406F13D3504}" destId="{D45FCB00-77F9-4BE1-A472-28CB451D50D3}" srcOrd="6" destOrd="0" parTransId="{A06550A0-7068-4636-A296-BD1A4607603B}" sibTransId="{483ED84D-0927-4676-A4E6-DCDD3145D59A}"/>
    <dgm:cxn modelId="{ED3FEF22-2DAC-43D6-BC10-CD9E078C0584}" srcId="{68C5B9BA-FACF-4730-A6DD-F406F13D3504}" destId="{B5A0F578-8683-4FEB-A490-E03447A5E581}" srcOrd="7" destOrd="0" parTransId="{D0D77097-6E5A-4825-B1C8-AF3B3A558EB2}" sibTransId="{C48B8F8D-481E-4D2F-8742-B0C3C77024E6}"/>
    <dgm:cxn modelId="{545E8623-C9DE-4AE5-8296-6F44879EAEAC}" type="presOf" srcId="{B5A0F578-8683-4FEB-A490-E03447A5E581}" destId="{68759589-565D-4460-809D-C508F20C8183}" srcOrd="0" destOrd="0" presId="urn:microsoft.com/office/officeart/2016/7/layout/RepeatingBendingProcessNew"/>
    <dgm:cxn modelId="{BD09CA24-EC73-41D2-972B-57F68E82D9B3}" type="presOf" srcId="{D45FCB00-77F9-4BE1-A472-28CB451D50D3}" destId="{1F6EE78F-AA56-4BAC-9422-431D3F9E3294}" srcOrd="0" destOrd="0" presId="urn:microsoft.com/office/officeart/2016/7/layout/RepeatingBendingProcessNew"/>
    <dgm:cxn modelId="{AA3C7527-782D-44A1-BC23-E4332A3EBDD6}" srcId="{68C5B9BA-FACF-4730-A6DD-F406F13D3504}" destId="{800C4CF3-1842-41A1-BC5E-1E9140683E81}" srcOrd="3" destOrd="0" parTransId="{74A9DBB5-A26F-47AB-B85B-4FCD189B0030}" sibTransId="{0718B7BB-C625-4822-910F-F24CD8E7CAD0}"/>
    <dgm:cxn modelId="{79C2293C-34CB-46FE-97E1-2F157CC98760}" type="presOf" srcId="{7E433B0C-7EC0-440D-A902-B4B3468CCE3B}" destId="{90A34DB6-E86F-4F2A-B82C-321236BC9728}" srcOrd="0" destOrd="0" presId="urn:microsoft.com/office/officeart/2016/7/layout/RepeatingBendingProcessNew"/>
    <dgm:cxn modelId="{B174973E-F15C-4A6D-B6A7-F3EB608A9EBA}" srcId="{68C5B9BA-FACF-4730-A6DD-F406F13D3504}" destId="{C3E79AE6-F3E9-463B-9D2B-E2B10DFB3EC7}" srcOrd="4" destOrd="0" parTransId="{6763F8E4-93E1-4C61-8A21-F3E7332CBF81}" sibTransId="{8422A489-FEB6-466E-A550-808190E451E2}"/>
    <dgm:cxn modelId="{3330573F-2652-4386-917D-A69C76888794}" type="presOf" srcId="{483ED84D-0927-4676-A4E6-DCDD3145D59A}" destId="{B8513C40-3828-420A-9FDE-44C9855E758A}" srcOrd="0" destOrd="0" presId="urn:microsoft.com/office/officeart/2016/7/layout/RepeatingBendingProcessNew"/>
    <dgm:cxn modelId="{3B024D45-A947-43DD-9EE6-7F7186580B18}" type="presOf" srcId="{DDEDAF30-83CF-492F-99B0-AC86D2786116}" destId="{7771E6D4-7956-402D-9DEF-5FA20D5E6D9B}" srcOrd="0" destOrd="0" presId="urn:microsoft.com/office/officeart/2016/7/layout/RepeatingBendingProcessNew"/>
    <dgm:cxn modelId="{6BFFB445-1892-4B8D-BF48-7DD2DEA98560}" type="presOf" srcId="{C3E79AE6-F3E9-463B-9D2B-E2B10DFB3EC7}" destId="{1285E224-DE2F-4280-BB7F-B4B062B78354}" srcOrd="0" destOrd="0" presId="urn:microsoft.com/office/officeart/2016/7/layout/RepeatingBendingProcessNew"/>
    <dgm:cxn modelId="{2DBA2271-18E5-4A56-BD06-495ADBE08C10}" type="presOf" srcId="{68C5B9BA-FACF-4730-A6DD-F406F13D3504}" destId="{BDE1647E-A362-4DC0-8BBD-74F5D0FEFAF4}" srcOrd="0" destOrd="0" presId="urn:microsoft.com/office/officeart/2016/7/layout/RepeatingBendingProcessNew"/>
    <dgm:cxn modelId="{DEB45574-EE55-4EB1-B9DA-3AC72AA1D9AA}" srcId="{68C5B9BA-FACF-4730-A6DD-F406F13D3504}" destId="{EFDE7172-A053-43CE-B2BC-257E7F07E31D}" srcOrd="1" destOrd="0" parTransId="{B6865E81-99A2-42FE-959D-ED157F0930F4}" sibTransId="{7E433B0C-7EC0-440D-A902-B4B3468CCE3B}"/>
    <dgm:cxn modelId="{36FC0279-E8EC-4ECC-8A4C-13E1D8FFF2FC}" type="presOf" srcId="{0718B7BB-C625-4822-910F-F24CD8E7CAD0}" destId="{84B16197-9886-4EFB-A98A-384DF81D38AF}" srcOrd="1" destOrd="0" presId="urn:microsoft.com/office/officeart/2016/7/layout/RepeatingBendingProcessNew"/>
    <dgm:cxn modelId="{B541D459-3F0B-4C69-9FD5-5EAB148F1F58}" srcId="{68C5B9BA-FACF-4730-A6DD-F406F13D3504}" destId="{3FDDE12B-0916-4503-8F6E-36F84B0D3829}" srcOrd="5" destOrd="0" parTransId="{3815A39B-F217-4E32-834F-E9A414770E1E}" sibTransId="{6389C0B6-931A-431A-A69C-29B536DE4384}"/>
    <dgm:cxn modelId="{CD1E8980-2CA9-4B13-A2B3-1856169A854A}" type="presOf" srcId="{800C4CF3-1842-41A1-BC5E-1E9140683E81}" destId="{2460DC87-D38D-4AA1-8DBF-1BA330D34D43}" srcOrd="0" destOrd="0" presId="urn:microsoft.com/office/officeart/2016/7/layout/RepeatingBendingProcessNew"/>
    <dgm:cxn modelId="{8711E182-9ED1-46D9-B64B-C916FD53883A}" type="presOf" srcId="{6389C0B6-931A-431A-A69C-29B536DE4384}" destId="{A89A18DC-F474-4731-9555-D466A8C620B6}" srcOrd="0" destOrd="0" presId="urn:microsoft.com/office/officeart/2016/7/layout/RepeatingBendingProcessNew"/>
    <dgm:cxn modelId="{D5440E8E-33F0-43AD-A332-90A8D96AE384}" type="presOf" srcId="{9B48DF0A-94B3-496D-B506-7A97BFB9AB6E}" destId="{26716DCA-C7A2-4E8D-B1A3-77063674D2DB}" srcOrd="0" destOrd="0" presId="urn:microsoft.com/office/officeart/2016/7/layout/RepeatingBendingProcessNew"/>
    <dgm:cxn modelId="{90063E8F-F789-4A45-9135-49096F11AD8F}" type="presOf" srcId="{6389C0B6-931A-431A-A69C-29B536DE4384}" destId="{293B7067-F783-44BB-9077-4682722A0B12}" srcOrd="1" destOrd="0" presId="urn:microsoft.com/office/officeart/2016/7/layout/RepeatingBendingProcessNew"/>
    <dgm:cxn modelId="{CC7CA597-0AA8-4D1D-9046-F4212121A43F}" srcId="{68C5B9BA-FACF-4730-A6DD-F406F13D3504}" destId="{6C9B1CF0-CC64-400C-9C6F-28C5C396F7A3}" srcOrd="0" destOrd="0" parTransId="{930F9E54-478C-4748-9327-33E77269E009}" sibTransId="{DDEDAF30-83CF-492F-99B0-AC86D2786116}"/>
    <dgm:cxn modelId="{981D32B9-87D4-4DB5-AB11-4F0521F2F140}" type="presOf" srcId="{0718B7BB-C625-4822-910F-F24CD8E7CAD0}" destId="{B5C669FF-1AC9-4976-B77C-4169FA392128}" srcOrd="0" destOrd="0" presId="urn:microsoft.com/office/officeart/2016/7/layout/RepeatingBendingProcessNew"/>
    <dgm:cxn modelId="{F2ED7ACA-965D-4A80-965E-D5627C6A36EA}" type="presOf" srcId="{3FDDE12B-0916-4503-8F6E-36F84B0D3829}" destId="{E454A1E5-8A59-4D88-BDA3-1B5CB2716EB3}" srcOrd="0" destOrd="0" presId="urn:microsoft.com/office/officeart/2016/7/layout/RepeatingBendingProcessNew"/>
    <dgm:cxn modelId="{FBBD20D1-D320-4E4C-8C10-251302810448}" type="presOf" srcId="{DDEDAF30-83CF-492F-99B0-AC86D2786116}" destId="{7FE8D416-3CD5-4087-A822-0752D46E979D}" srcOrd="1" destOrd="0" presId="urn:microsoft.com/office/officeart/2016/7/layout/RepeatingBendingProcessNew"/>
    <dgm:cxn modelId="{F11B9BD8-BBA7-4519-9E2D-A4A94C762829}" type="presOf" srcId="{8422A489-FEB6-466E-A550-808190E451E2}" destId="{48364587-DE63-4D17-B03E-32B9EACBA548}" srcOrd="0" destOrd="0" presId="urn:microsoft.com/office/officeart/2016/7/layout/RepeatingBendingProcessNew"/>
    <dgm:cxn modelId="{70A8F5D8-316F-40A1-A738-81C56C586D6A}" type="presOf" srcId="{9B48DF0A-94B3-496D-B506-7A97BFB9AB6E}" destId="{AB1552CE-9268-4AD4-A617-DAA7AFF976C8}" srcOrd="1" destOrd="0" presId="urn:microsoft.com/office/officeart/2016/7/layout/RepeatingBendingProcessNew"/>
    <dgm:cxn modelId="{CDD5DBF8-E4E1-4118-BFD5-1FF25FC92DAB}" srcId="{68C5B9BA-FACF-4730-A6DD-F406F13D3504}" destId="{E0F36A41-1FEA-4CA3-B8D1-519E53F4F841}" srcOrd="2" destOrd="0" parTransId="{9130777F-FB7E-4486-B5AA-D448736D24B9}" sibTransId="{9B48DF0A-94B3-496D-B506-7A97BFB9AB6E}"/>
    <dgm:cxn modelId="{786897FB-81BF-4523-875F-2132EC8854E6}" type="presOf" srcId="{6C9B1CF0-CC64-400C-9C6F-28C5C396F7A3}" destId="{5776AA77-A511-43A6-B3F0-B555A9E7D35E}" srcOrd="0" destOrd="0" presId="urn:microsoft.com/office/officeart/2016/7/layout/RepeatingBendingProcessNew"/>
    <dgm:cxn modelId="{10685FE0-080F-49E0-BEC8-B3A31571743D}" type="presParOf" srcId="{BDE1647E-A362-4DC0-8BBD-74F5D0FEFAF4}" destId="{5776AA77-A511-43A6-B3F0-B555A9E7D35E}" srcOrd="0" destOrd="0" presId="urn:microsoft.com/office/officeart/2016/7/layout/RepeatingBendingProcessNew"/>
    <dgm:cxn modelId="{8404D116-3FD5-45B0-ACDB-B93CAAC8E3DA}" type="presParOf" srcId="{BDE1647E-A362-4DC0-8BBD-74F5D0FEFAF4}" destId="{7771E6D4-7956-402D-9DEF-5FA20D5E6D9B}" srcOrd="1" destOrd="0" presId="urn:microsoft.com/office/officeart/2016/7/layout/RepeatingBendingProcessNew"/>
    <dgm:cxn modelId="{4800D717-4EA1-44C6-BE33-DA931C82254B}" type="presParOf" srcId="{7771E6D4-7956-402D-9DEF-5FA20D5E6D9B}" destId="{7FE8D416-3CD5-4087-A822-0752D46E979D}" srcOrd="0" destOrd="0" presId="urn:microsoft.com/office/officeart/2016/7/layout/RepeatingBendingProcessNew"/>
    <dgm:cxn modelId="{75B82E19-673E-446D-A0F2-4494E68A0AD3}" type="presParOf" srcId="{BDE1647E-A362-4DC0-8BBD-74F5D0FEFAF4}" destId="{CD7610E3-70FE-439D-91C2-AEF2BDCFDDF1}" srcOrd="2" destOrd="0" presId="urn:microsoft.com/office/officeart/2016/7/layout/RepeatingBendingProcessNew"/>
    <dgm:cxn modelId="{2FE37FB5-F94D-411A-B422-EEF20EE31BD5}" type="presParOf" srcId="{BDE1647E-A362-4DC0-8BBD-74F5D0FEFAF4}" destId="{90A34DB6-E86F-4F2A-B82C-321236BC9728}" srcOrd="3" destOrd="0" presId="urn:microsoft.com/office/officeart/2016/7/layout/RepeatingBendingProcessNew"/>
    <dgm:cxn modelId="{397AB1AB-C08A-4B81-838B-70142AFB54E7}" type="presParOf" srcId="{90A34DB6-E86F-4F2A-B82C-321236BC9728}" destId="{1353440F-8B04-4030-B038-0C9C87C2AA24}" srcOrd="0" destOrd="0" presId="urn:microsoft.com/office/officeart/2016/7/layout/RepeatingBendingProcessNew"/>
    <dgm:cxn modelId="{B965DA83-80DD-4A51-B050-ED2F34E862BC}" type="presParOf" srcId="{BDE1647E-A362-4DC0-8BBD-74F5D0FEFAF4}" destId="{3CC1DF64-0076-4E3F-B4D6-CC013D85A8DA}" srcOrd="4" destOrd="0" presId="urn:microsoft.com/office/officeart/2016/7/layout/RepeatingBendingProcessNew"/>
    <dgm:cxn modelId="{C007BBB9-DBC3-40C8-8C1C-0C9306961DE5}" type="presParOf" srcId="{BDE1647E-A362-4DC0-8BBD-74F5D0FEFAF4}" destId="{26716DCA-C7A2-4E8D-B1A3-77063674D2DB}" srcOrd="5" destOrd="0" presId="urn:microsoft.com/office/officeart/2016/7/layout/RepeatingBendingProcessNew"/>
    <dgm:cxn modelId="{8B896F42-63AC-4BC9-B818-73171EAD1083}" type="presParOf" srcId="{26716DCA-C7A2-4E8D-B1A3-77063674D2DB}" destId="{AB1552CE-9268-4AD4-A617-DAA7AFF976C8}" srcOrd="0" destOrd="0" presId="urn:microsoft.com/office/officeart/2016/7/layout/RepeatingBendingProcessNew"/>
    <dgm:cxn modelId="{DD7D3C91-5BD9-436E-BBAE-ED4080C08415}" type="presParOf" srcId="{BDE1647E-A362-4DC0-8BBD-74F5D0FEFAF4}" destId="{2460DC87-D38D-4AA1-8DBF-1BA330D34D43}" srcOrd="6" destOrd="0" presId="urn:microsoft.com/office/officeart/2016/7/layout/RepeatingBendingProcessNew"/>
    <dgm:cxn modelId="{4C8AE255-B355-4E3D-B6FC-7B0F7FF5E00D}" type="presParOf" srcId="{BDE1647E-A362-4DC0-8BBD-74F5D0FEFAF4}" destId="{B5C669FF-1AC9-4976-B77C-4169FA392128}" srcOrd="7" destOrd="0" presId="urn:microsoft.com/office/officeart/2016/7/layout/RepeatingBendingProcessNew"/>
    <dgm:cxn modelId="{F36EDD83-47EA-4E05-BDCE-80C7F0A39274}" type="presParOf" srcId="{B5C669FF-1AC9-4976-B77C-4169FA392128}" destId="{84B16197-9886-4EFB-A98A-384DF81D38AF}" srcOrd="0" destOrd="0" presId="urn:microsoft.com/office/officeart/2016/7/layout/RepeatingBendingProcessNew"/>
    <dgm:cxn modelId="{58F96DBC-BAC7-44FC-B703-F35B26F93991}" type="presParOf" srcId="{BDE1647E-A362-4DC0-8BBD-74F5D0FEFAF4}" destId="{1285E224-DE2F-4280-BB7F-B4B062B78354}" srcOrd="8" destOrd="0" presId="urn:microsoft.com/office/officeart/2016/7/layout/RepeatingBendingProcessNew"/>
    <dgm:cxn modelId="{69DC4DE8-CA00-4778-9B33-FDF6E9271994}" type="presParOf" srcId="{BDE1647E-A362-4DC0-8BBD-74F5D0FEFAF4}" destId="{48364587-DE63-4D17-B03E-32B9EACBA548}" srcOrd="9" destOrd="0" presId="urn:microsoft.com/office/officeart/2016/7/layout/RepeatingBendingProcessNew"/>
    <dgm:cxn modelId="{EA6EEC4A-2D74-42D7-BB6F-EF40F7FAA6F4}" type="presParOf" srcId="{48364587-DE63-4D17-B03E-32B9EACBA548}" destId="{E97578D0-C8FF-4171-8835-2241BCF5AF0C}" srcOrd="0" destOrd="0" presId="urn:microsoft.com/office/officeart/2016/7/layout/RepeatingBendingProcessNew"/>
    <dgm:cxn modelId="{AA9E69C3-B563-4E99-ACCC-5FE49C363630}" type="presParOf" srcId="{BDE1647E-A362-4DC0-8BBD-74F5D0FEFAF4}" destId="{E454A1E5-8A59-4D88-BDA3-1B5CB2716EB3}" srcOrd="10" destOrd="0" presId="urn:microsoft.com/office/officeart/2016/7/layout/RepeatingBendingProcessNew"/>
    <dgm:cxn modelId="{8B2A5920-07E4-400A-8086-F0C8FB85679E}" type="presParOf" srcId="{BDE1647E-A362-4DC0-8BBD-74F5D0FEFAF4}" destId="{A89A18DC-F474-4731-9555-D466A8C620B6}" srcOrd="11" destOrd="0" presId="urn:microsoft.com/office/officeart/2016/7/layout/RepeatingBendingProcessNew"/>
    <dgm:cxn modelId="{7ACBCE99-8E95-4A17-B005-CFD8DAFD639D}" type="presParOf" srcId="{A89A18DC-F474-4731-9555-D466A8C620B6}" destId="{293B7067-F783-44BB-9077-4682722A0B12}" srcOrd="0" destOrd="0" presId="urn:microsoft.com/office/officeart/2016/7/layout/RepeatingBendingProcessNew"/>
    <dgm:cxn modelId="{4F57C877-7F59-4AD7-A4DF-57C43B39C8CA}" type="presParOf" srcId="{BDE1647E-A362-4DC0-8BBD-74F5D0FEFAF4}" destId="{1F6EE78F-AA56-4BAC-9422-431D3F9E3294}" srcOrd="12" destOrd="0" presId="urn:microsoft.com/office/officeart/2016/7/layout/RepeatingBendingProcessNew"/>
    <dgm:cxn modelId="{999D3443-D64F-4A30-A6C4-59F5342FFCBD}" type="presParOf" srcId="{BDE1647E-A362-4DC0-8BBD-74F5D0FEFAF4}" destId="{B8513C40-3828-420A-9FDE-44C9855E758A}" srcOrd="13" destOrd="0" presId="urn:microsoft.com/office/officeart/2016/7/layout/RepeatingBendingProcessNew"/>
    <dgm:cxn modelId="{9C551AC3-092F-473E-99C8-250A1F4C5D34}" type="presParOf" srcId="{B8513C40-3828-420A-9FDE-44C9855E758A}" destId="{144BE0E9-56D7-488F-A0BD-ADD978910FAB}" srcOrd="0" destOrd="0" presId="urn:microsoft.com/office/officeart/2016/7/layout/RepeatingBendingProcessNew"/>
    <dgm:cxn modelId="{5BE02F98-6373-48A5-8C34-346C92B28740}" type="presParOf" srcId="{BDE1647E-A362-4DC0-8BBD-74F5D0FEFAF4}" destId="{68759589-565D-4460-809D-C508F20C8183}" srcOrd="14" destOrd="0" presId="urn:microsoft.com/office/officeart/2016/7/layout/RepeatingBendingProcessNew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882F07C7-FE1D-4735-9C8D-9BD00B5A7464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A7591F49-28B4-4065-84FA-D267119C7D3A}">
      <dgm:prSet phldrT="[Text]"/>
      <dgm:spPr/>
      <dgm:t>
        <a:bodyPr/>
        <a:lstStyle/>
        <a:p>
          <a:r>
            <a:rPr lang="en-GB" b="1" u="none" dirty="0"/>
            <a:t>DO YOUR RESEARCH</a:t>
          </a:r>
        </a:p>
        <a:p>
          <a:r>
            <a:rPr lang="en-GB" dirty="0">
              <a:latin typeface="+mn-lt"/>
            </a:rPr>
            <a:t>As part of your application, you will be able to pick your preferred schemes. If you select a scheme, ensure you have researched it and have reasons of why you are interested in each scheme.</a:t>
          </a:r>
          <a:endParaRPr lang="en-GB" dirty="0"/>
        </a:p>
      </dgm:t>
    </dgm:pt>
    <dgm:pt modelId="{2516B4BA-3EE2-47DC-8A64-F187DD9B9E8D}" type="parTrans" cxnId="{7D9431B1-09FB-4914-B6F0-16718FEE415C}">
      <dgm:prSet/>
      <dgm:spPr/>
      <dgm:t>
        <a:bodyPr/>
        <a:lstStyle/>
        <a:p>
          <a:endParaRPr lang="en-GB"/>
        </a:p>
      </dgm:t>
    </dgm:pt>
    <dgm:pt modelId="{BB5108B0-86E3-4480-ADCA-DAC4C9426167}" type="sibTrans" cxnId="{7D9431B1-09FB-4914-B6F0-16718FEE415C}">
      <dgm:prSet/>
      <dgm:spPr/>
      <dgm:t>
        <a:bodyPr/>
        <a:lstStyle/>
        <a:p>
          <a:endParaRPr lang="en-GB"/>
        </a:p>
      </dgm:t>
    </dgm:pt>
    <dgm:pt modelId="{E2E05434-7E1E-4BDC-82F1-6BD2D5272D53}">
      <dgm:prSet phldrT="[Text]"/>
      <dgm:spPr/>
      <dgm:t>
        <a:bodyPr/>
        <a:lstStyle/>
        <a:p>
          <a:r>
            <a:rPr lang="en-GB" b="1" dirty="0"/>
            <a:t>TAKE YOUR TIME</a:t>
          </a:r>
        </a:p>
        <a:p>
          <a:r>
            <a:rPr lang="en-GB" dirty="0">
              <a:latin typeface="+mn-lt"/>
            </a:rPr>
            <a:t>Take care when you are completing your application, attention to detail is important. Make sure you include ALL your qualifications and predicted grades. </a:t>
          </a:r>
          <a:endParaRPr lang="en-GB" dirty="0"/>
        </a:p>
      </dgm:t>
    </dgm:pt>
    <dgm:pt modelId="{B0CA59F1-73D1-42D7-A28F-21E0ADE0300F}" type="parTrans" cxnId="{16582E0A-C269-4875-B302-3F25C1C7D978}">
      <dgm:prSet/>
      <dgm:spPr/>
      <dgm:t>
        <a:bodyPr/>
        <a:lstStyle/>
        <a:p>
          <a:endParaRPr lang="en-GB"/>
        </a:p>
      </dgm:t>
    </dgm:pt>
    <dgm:pt modelId="{8C82D86B-8BB4-4906-A9D6-892F048A4F50}" type="sibTrans" cxnId="{16582E0A-C269-4875-B302-3F25C1C7D978}">
      <dgm:prSet/>
      <dgm:spPr/>
      <dgm:t>
        <a:bodyPr/>
        <a:lstStyle/>
        <a:p>
          <a:endParaRPr lang="en-GB"/>
        </a:p>
      </dgm:t>
    </dgm:pt>
    <dgm:pt modelId="{E19C49EC-D54C-48C6-A98D-E22055264FC6}">
      <dgm:prSet phldrT="[Text]"/>
      <dgm:spPr/>
      <dgm:t>
        <a:bodyPr/>
        <a:lstStyle/>
        <a:p>
          <a:r>
            <a:rPr lang="en-GB" b="1" dirty="0"/>
            <a:t>PLAY TO YOUR STRENGTHS</a:t>
          </a:r>
        </a:p>
        <a:p>
          <a:r>
            <a:rPr lang="en-GB" b="0" dirty="0"/>
            <a:t>We want to know about you, be truthful and tell us about your experiences, whether that be from school or work, and apply it to working at Sellafield Ltd. </a:t>
          </a:r>
        </a:p>
      </dgm:t>
    </dgm:pt>
    <dgm:pt modelId="{92AF10FC-80E9-4ACD-ADE2-39C0E4AFB7EF}" type="parTrans" cxnId="{965B037D-D1F9-491C-9C4A-ACB79ADF76AF}">
      <dgm:prSet/>
      <dgm:spPr/>
      <dgm:t>
        <a:bodyPr/>
        <a:lstStyle/>
        <a:p>
          <a:endParaRPr lang="en-GB"/>
        </a:p>
      </dgm:t>
    </dgm:pt>
    <dgm:pt modelId="{92CC6379-BFC7-49E0-872E-B7905284B39B}" type="sibTrans" cxnId="{965B037D-D1F9-491C-9C4A-ACB79ADF76AF}">
      <dgm:prSet/>
      <dgm:spPr/>
      <dgm:t>
        <a:bodyPr/>
        <a:lstStyle/>
        <a:p>
          <a:endParaRPr lang="en-GB"/>
        </a:p>
      </dgm:t>
    </dgm:pt>
    <dgm:pt modelId="{9CFA1659-FF1C-43F5-860D-236EA2DDEB92}" type="pres">
      <dgm:prSet presAssocID="{882F07C7-FE1D-4735-9C8D-9BD00B5A7464}" presName="diagram" presStyleCnt="0">
        <dgm:presLayoutVars>
          <dgm:dir/>
          <dgm:resizeHandles val="exact"/>
        </dgm:presLayoutVars>
      </dgm:prSet>
      <dgm:spPr/>
    </dgm:pt>
    <dgm:pt modelId="{E0C2B0E5-5BAA-4DA3-BEA1-5C22E4B689F5}" type="pres">
      <dgm:prSet presAssocID="{A7591F49-28B4-4065-84FA-D267119C7D3A}" presName="node" presStyleLbl="node1" presStyleIdx="0" presStyleCnt="3">
        <dgm:presLayoutVars>
          <dgm:bulletEnabled val="1"/>
        </dgm:presLayoutVars>
      </dgm:prSet>
      <dgm:spPr/>
    </dgm:pt>
    <dgm:pt modelId="{56DF314C-AC8D-4685-9678-9675E3258A9C}" type="pres">
      <dgm:prSet presAssocID="{BB5108B0-86E3-4480-ADCA-DAC4C9426167}" presName="sibTrans" presStyleCnt="0"/>
      <dgm:spPr/>
    </dgm:pt>
    <dgm:pt modelId="{F6321207-3249-46BC-886E-CBB27FB3D38B}" type="pres">
      <dgm:prSet presAssocID="{E2E05434-7E1E-4BDC-82F1-6BD2D5272D53}" presName="node" presStyleLbl="node1" presStyleIdx="1" presStyleCnt="3">
        <dgm:presLayoutVars>
          <dgm:bulletEnabled val="1"/>
        </dgm:presLayoutVars>
      </dgm:prSet>
      <dgm:spPr/>
    </dgm:pt>
    <dgm:pt modelId="{BC029077-B000-44C4-A079-27D87F68D3C4}" type="pres">
      <dgm:prSet presAssocID="{8C82D86B-8BB4-4906-A9D6-892F048A4F50}" presName="sibTrans" presStyleCnt="0"/>
      <dgm:spPr/>
    </dgm:pt>
    <dgm:pt modelId="{CF2F19B5-D4A7-4E22-9847-77D7BA18EBEA}" type="pres">
      <dgm:prSet presAssocID="{E19C49EC-D54C-48C6-A98D-E22055264FC6}" presName="node" presStyleLbl="node1" presStyleIdx="2" presStyleCnt="3">
        <dgm:presLayoutVars>
          <dgm:bulletEnabled val="1"/>
        </dgm:presLayoutVars>
      </dgm:prSet>
      <dgm:spPr/>
    </dgm:pt>
  </dgm:ptLst>
  <dgm:cxnLst>
    <dgm:cxn modelId="{B3E5E900-E236-4158-9C64-83B0CD314CC2}" type="presOf" srcId="{E19C49EC-D54C-48C6-A98D-E22055264FC6}" destId="{CF2F19B5-D4A7-4E22-9847-77D7BA18EBEA}" srcOrd="0" destOrd="0" presId="urn:microsoft.com/office/officeart/2005/8/layout/default"/>
    <dgm:cxn modelId="{B863AD08-789D-47C0-A1FD-E3A53839F097}" type="presOf" srcId="{A7591F49-28B4-4065-84FA-D267119C7D3A}" destId="{E0C2B0E5-5BAA-4DA3-BEA1-5C22E4B689F5}" srcOrd="0" destOrd="0" presId="urn:microsoft.com/office/officeart/2005/8/layout/default"/>
    <dgm:cxn modelId="{16582E0A-C269-4875-B302-3F25C1C7D978}" srcId="{882F07C7-FE1D-4735-9C8D-9BD00B5A7464}" destId="{E2E05434-7E1E-4BDC-82F1-6BD2D5272D53}" srcOrd="1" destOrd="0" parTransId="{B0CA59F1-73D1-42D7-A28F-21E0ADE0300F}" sibTransId="{8C82D86B-8BB4-4906-A9D6-892F048A4F50}"/>
    <dgm:cxn modelId="{44BB2845-A516-4BC7-94BF-E2E0E8630962}" type="presOf" srcId="{882F07C7-FE1D-4735-9C8D-9BD00B5A7464}" destId="{9CFA1659-FF1C-43F5-860D-236EA2DDEB92}" srcOrd="0" destOrd="0" presId="urn:microsoft.com/office/officeart/2005/8/layout/default"/>
    <dgm:cxn modelId="{965B037D-D1F9-491C-9C4A-ACB79ADF76AF}" srcId="{882F07C7-FE1D-4735-9C8D-9BD00B5A7464}" destId="{E19C49EC-D54C-48C6-A98D-E22055264FC6}" srcOrd="2" destOrd="0" parTransId="{92AF10FC-80E9-4ACD-ADE2-39C0E4AFB7EF}" sibTransId="{92CC6379-BFC7-49E0-872E-B7905284B39B}"/>
    <dgm:cxn modelId="{7D9431B1-09FB-4914-B6F0-16718FEE415C}" srcId="{882F07C7-FE1D-4735-9C8D-9BD00B5A7464}" destId="{A7591F49-28B4-4065-84FA-D267119C7D3A}" srcOrd="0" destOrd="0" parTransId="{2516B4BA-3EE2-47DC-8A64-F187DD9B9E8D}" sibTransId="{BB5108B0-86E3-4480-ADCA-DAC4C9426167}"/>
    <dgm:cxn modelId="{654A26BD-C349-4BEE-B698-A67B91E520E2}" type="presOf" srcId="{E2E05434-7E1E-4BDC-82F1-6BD2D5272D53}" destId="{F6321207-3249-46BC-886E-CBB27FB3D38B}" srcOrd="0" destOrd="0" presId="urn:microsoft.com/office/officeart/2005/8/layout/default"/>
    <dgm:cxn modelId="{56B671E2-386A-41AD-A0C2-16911ACA0543}" type="presParOf" srcId="{9CFA1659-FF1C-43F5-860D-236EA2DDEB92}" destId="{E0C2B0E5-5BAA-4DA3-BEA1-5C22E4B689F5}" srcOrd="0" destOrd="0" presId="urn:microsoft.com/office/officeart/2005/8/layout/default"/>
    <dgm:cxn modelId="{E80BBDCC-3A75-4FAB-8F39-A619E1209F18}" type="presParOf" srcId="{9CFA1659-FF1C-43F5-860D-236EA2DDEB92}" destId="{56DF314C-AC8D-4685-9678-9675E3258A9C}" srcOrd="1" destOrd="0" presId="urn:microsoft.com/office/officeart/2005/8/layout/default"/>
    <dgm:cxn modelId="{7238C6AA-E3C1-4319-A763-09B07BBE91DB}" type="presParOf" srcId="{9CFA1659-FF1C-43F5-860D-236EA2DDEB92}" destId="{F6321207-3249-46BC-886E-CBB27FB3D38B}" srcOrd="2" destOrd="0" presId="urn:microsoft.com/office/officeart/2005/8/layout/default"/>
    <dgm:cxn modelId="{0110F554-FB72-4DCD-94D3-7064E95D4DA5}" type="presParOf" srcId="{9CFA1659-FF1C-43F5-860D-236EA2DDEB92}" destId="{BC029077-B000-44C4-A079-27D87F68D3C4}" srcOrd="3" destOrd="0" presId="urn:microsoft.com/office/officeart/2005/8/layout/default"/>
    <dgm:cxn modelId="{77B4469F-2833-4E6F-B8ED-0C257191D215}" type="presParOf" srcId="{9CFA1659-FF1C-43F5-860D-236EA2DDEB92}" destId="{CF2F19B5-D4A7-4E22-9847-77D7BA18EBEA}" srcOrd="4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0C546FC3-BDCF-4CFE-A3D0-75E2AE5B0B3C}" type="doc">
      <dgm:prSet loTypeId="urn:microsoft.com/office/officeart/2018/2/layout/IconCircle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C596908-905B-43BB-AAF3-8B940E2A67C7}">
      <dgm:prSet/>
      <dgm:spPr/>
      <dgm:t>
        <a:bodyPr/>
        <a:lstStyle/>
        <a:p>
          <a:r>
            <a:rPr lang="en-GB" dirty="0">
              <a:solidFill>
                <a:schemeClr val="bg1"/>
              </a:solidFill>
            </a:rPr>
            <a:t>Go Live: </a:t>
          </a:r>
        </a:p>
        <a:p>
          <a:r>
            <a:rPr lang="en-GB" dirty="0">
              <a:solidFill>
                <a:schemeClr val="bg1"/>
              </a:solidFill>
            </a:rPr>
            <a:t>6</a:t>
          </a:r>
          <a:r>
            <a:rPr lang="en-GB" baseline="30000" dirty="0">
              <a:solidFill>
                <a:schemeClr val="bg1"/>
              </a:solidFill>
            </a:rPr>
            <a:t>th</a:t>
          </a:r>
          <a:r>
            <a:rPr lang="en-GB" dirty="0">
              <a:solidFill>
                <a:schemeClr val="bg1"/>
              </a:solidFill>
            </a:rPr>
            <a:t> November 2023 </a:t>
          </a:r>
          <a:endParaRPr lang="en-US" dirty="0">
            <a:solidFill>
              <a:schemeClr val="bg1"/>
            </a:solidFill>
          </a:endParaRPr>
        </a:p>
      </dgm:t>
    </dgm:pt>
    <dgm:pt modelId="{8DFAAB25-6AC9-4F5A-8762-D9D3844BC666}" type="parTrans" cxnId="{C5A6A238-9F5D-4092-A424-EFD14F702E96}">
      <dgm:prSet/>
      <dgm:spPr/>
      <dgm:t>
        <a:bodyPr/>
        <a:lstStyle/>
        <a:p>
          <a:endParaRPr lang="en-US"/>
        </a:p>
      </dgm:t>
    </dgm:pt>
    <dgm:pt modelId="{1B85AB6F-5195-42EB-B09A-CFD82FBC151A}" type="sibTrans" cxnId="{C5A6A238-9F5D-4092-A424-EFD14F702E96}">
      <dgm:prSet/>
      <dgm:spPr/>
      <dgm:t>
        <a:bodyPr/>
        <a:lstStyle/>
        <a:p>
          <a:endParaRPr lang="en-US"/>
        </a:p>
      </dgm:t>
    </dgm:pt>
    <dgm:pt modelId="{7BA86CCC-A635-47F8-8000-88F2AA5B7EF2}">
      <dgm:prSet/>
      <dgm:spPr/>
      <dgm:t>
        <a:bodyPr/>
        <a:lstStyle/>
        <a:p>
          <a:r>
            <a:rPr lang="en-GB" dirty="0">
              <a:solidFill>
                <a:schemeClr val="bg1"/>
              </a:solidFill>
            </a:rPr>
            <a:t>Applications Close: </a:t>
          </a:r>
        </a:p>
        <a:p>
          <a:r>
            <a:rPr lang="en-GB" dirty="0">
              <a:solidFill>
                <a:schemeClr val="bg1"/>
              </a:solidFill>
            </a:rPr>
            <a:t>11</a:t>
          </a:r>
          <a:r>
            <a:rPr lang="en-GB" baseline="30000" dirty="0">
              <a:solidFill>
                <a:schemeClr val="bg1"/>
              </a:solidFill>
            </a:rPr>
            <a:t>th</a:t>
          </a:r>
          <a:r>
            <a:rPr lang="en-GB" dirty="0">
              <a:solidFill>
                <a:schemeClr val="bg1"/>
              </a:solidFill>
            </a:rPr>
            <a:t> February 2024 </a:t>
          </a:r>
          <a:endParaRPr lang="en-US" dirty="0">
            <a:solidFill>
              <a:schemeClr val="bg1"/>
            </a:solidFill>
          </a:endParaRPr>
        </a:p>
      </dgm:t>
    </dgm:pt>
    <dgm:pt modelId="{9FEB6040-44C1-4F55-BF27-FC6BA8DF7D27}" type="parTrans" cxnId="{A4A81E32-1309-4B29-8D05-73EA5DA2DD10}">
      <dgm:prSet/>
      <dgm:spPr/>
      <dgm:t>
        <a:bodyPr/>
        <a:lstStyle/>
        <a:p>
          <a:endParaRPr lang="en-US"/>
        </a:p>
      </dgm:t>
    </dgm:pt>
    <dgm:pt modelId="{C06CF251-114D-4278-8E52-3EFCAD69FEBC}" type="sibTrans" cxnId="{A4A81E32-1309-4B29-8D05-73EA5DA2DD10}">
      <dgm:prSet/>
      <dgm:spPr/>
      <dgm:t>
        <a:bodyPr/>
        <a:lstStyle/>
        <a:p>
          <a:endParaRPr lang="en-US"/>
        </a:p>
      </dgm:t>
    </dgm:pt>
    <dgm:pt modelId="{3323AB42-24D6-40FF-8B84-02B9767B8B05}">
      <dgm:prSet/>
      <dgm:spPr/>
      <dgm:t>
        <a:bodyPr/>
        <a:lstStyle/>
        <a:p>
          <a:r>
            <a:rPr lang="en-GB" dirty="0">
              <a:solidFill>
                <a:schemeClr val="bg1"/>
              </a:solidFill>
            </a:rPr>
            <a:t>Interviews: </a:t>
          </a:r>
        </a:p>
        <a:p>
          <a:r>
            <a:rPr lang="en-GB" dirty="0">
              <a:solidFill>
                <a:schemeClr val="bg1"/>
              </a:solidFill>
            </a:rPr>
            <a:t>March 2024</a:t>
          </a:r>
          <a:endParaRPr lang="en-US" dirty="0">
            <a:solidFill>
              <a:schemeClr val="bg1"/>
            </a:solidFill>
          </a:endParaRPr>
        </a:p>
      </dgm:t>
    </dgm:pt>
    <dgm:pt modelId="{25425187-0DAA-4A8A-9588-AA6DB5FF069F}" type="parTrans" cxnId="{9A6B9BA5-CFFD-4255-BDF6-F6E426E3261E}">
      <dgm:prSet/>
      <dgm:spPr/>
      <dgm:t>
        <a:bodyPr/>
        <a:lstStyle/>
        <a:p>
          <a:endParaRPr lang="en-US"/>
        </a:p>
      </dgm:t>
    </dgm:pt>
    <dgm:pt modelId="{0FDF15F4-1010-40C4-95FB-B64EBCFEB436}" type="sibTrans" cxnId="{9A6B9BA5-CFFD-4255-BDF6-F6E426E3261E}">
      <dgm:prSet/>
      <dgm:spPr/>
      <dgm:t>
        <a:bodyPr/>
        <a:lstStyle/>
        <a:p>
          <a:endParaRPr lang="en-US"/>
        </a:p>
      </dgm:t>
    </dgm:pt>
    <dgm:pt modelId="{FC7599C9-FF90-40BA-A188-DF490BB05EE3}">
      <dgm:prSet/>
      <dgm:spPr/>
      <dgm:t>
        <a:bodyPr/>
        <a:lstStyle/>
        <a:p>
          <a:r>
            <a:rPr lang="en-GB" dirty="0">
              <a:solidFill>
                <a:schemeClr val="bg1"/>
              </a:solidFill>
            </a:rPr>
            <a:t>Start Date: </a:t>
          </a:r>
        </a:p>
        <a:p>
          <a:r>
            <a:rPr lang="en-GB" dirty="0">
              <a:solidFill>
                <a:schemeClr val="bg1"/>
              </a:solidFill>
            </a:rPr>
            <a:t>September 2024  </a:t>
          </a:r>
          <a:endParaRPr lang="en-US" dirty="0">
            <a:solidFill>
              <a:schemeClr val="bg1"/>
            </a:solidFill>
          </a:endParaRPr>
        </a:p>
      </dgm:t>
    </dgm:pt>
    <dgm:pt modelId="{5AB42CEF-E0A4-4024-9DA6-E694B472619C}" type="parTrans" cxnId="{A1B38C8D-B4C5-4BA8-A7C7-A1434D3D9DD6}">
      <dgm:prSet/>
      <dgm:spPr/>
      <dgm:t>
        <a:bodyPr/>
        <a:lstStyle/>
        <a:p>
          <a:endParaRPr lang="en-US"/>
        </a:p>
      </dgm:t>
    </dgm:pt>
    <dgm:pt modelId="{42C5342B-422A-4F83-B530-F8C778CB4E4B}" type="sibTrans" cxnId="{A1B38C8D-B4C5-4BA8-A7C7-A1434D3D9DD6}">
      <dgm:prSet/>
      <dgm:spPr/>
      <dgm:t>
        <a:bodyPr/>
        <a:lstStyle/>
        <a:p>
          <a:endParaRPr lang="en-US"/>
        </a:p>
      </dgm:t>
    </dgm:pt>
    <dgm:pt modelId="{1E7298E7-00B0-42CA-964B-3ECFBE323CC8}" type="pres">
      <dgm:prSet presAssocID="{0C546FC3-BDCF-4CFE-A3D0-75E2AE5B0B3C}" presName="root" presStyleCnt="0">
        <dgm:presLayoutVars>
          <dgm:dir/>
          <dgm:resizeHandles val="exact"/>
        </dgm:presLayoutVars>
      </dgm:prSet>
      <dgm:spPr/>
    </dgm:pt>
    <dgm:pt modelId="{7E2377CB-1806-406F-BB4E-9CFC6F474059}" type="pres">
      <dgm:prSet presAssocID="{0C546FC3-BDCF-4CFE-A3D0-75E2AE5B0B3C}" presName="container" presStyleCnt="0">
        <dgm:presLayoutVars>
          <dgm:dir/>
          <dgm:resizeHandles val="exact"/>
        </dgm:presLayoutVars>
      </dgm:prSet>
      <dgm:spPr/>
    </dgm:pt>
    <dgm:pt modelId="{7789217C-A26B-467A-ABBD-4C36DBBBA8C0}" type="pres">
      <dgm:prSet presAssocID="{CC596908-905B-43BB-AAF3-8B940E2A67C7}" presName="compNode" presStyleCnt="0"/>
      <dgm:spPr/>
    </dgm:pt>
    <dgm:pt modelId="{5E8419E1-E8F7-4A2D-95E3-B5CB742C6860}" type="pres">
      <dgm:prSet presAssocID="{CC596908-905B-43BB-AAF3-8B940E2A67C7}" presName="iconBgRect" presStyleLbl="bgShp" presStyleIdx="0" presStyleCnt="4"/>
      <dgm:spPr/>
    </dgm:pt>
    <dgm:pt modelId="{F6E0E646-B74C-4915-A5E2-C58E9D2FE95E}" type="pres">
      <dgm:prSet presAssocID="{CC596908-905B-43BB-AAF3-8B940E2A67C7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Rocket outline"/>
        </a:ext>
      </dgm:extLst>
    </dgm:pt>
    <dgm:pt modelId="{5769DB74-7074-45D2-A0E8-C6351C6EB53C}" type="pres">
      <dgm:prSet presAssocID="{CC596908-905B-43BB-AAF3-8B940E2A67C7}" presName="spaceRect" presStyleCnt="0"/>
      <dgm:spPr/>
    </dgm:pt>
    <dgm:pt modelId="{2FF4BE6B-1CDE-4362-B5C5-03F1B462F660}" type="pres">
      <dgm:prSet presAssocID="{CC596908-905B-43BB-AAF3-8B940E2A67C7}" presName="textRect" presStyleLbl="revTx" presStyleIdx="0" presStyleCnt="4">
        <dgm:presLayoutVars>
          <dgm:chMax val="1"/>
          <dgm:chPref val="1"/>
        </dgm:presLayoutVars>
      </dgm:prSet>
      <dgm:spPr/>
    </dgm:pt>
    <dgm:pt modelId="{C3F92BC5-7361-471D-9C52-67400492EC3F}" type="pres">
      <dgm:prSet presAssocID="{1B85AB6F-5195-42EB-B09A-CFD82FBC151A}" presName="sibTrans" presStyleLbl="sibTrans2D1" presStyleIdx="0" presStyleCnt="0"/>
      <dgm:spPr/>
    </dgm:pt>
    <dgm:pt modelId="{CBFCFE31-57A7-452F-B909-C42EBB50854D}" type="pres">
      <dgm:prSet presAssocID="{7BA86CCC-A635-47F8-8000-88F2AA5B7EF2}" presName="compNode" presStyleCnt="0"/>
      <dgm:spPr/>
    </dgm:pt>
    <dgm:pt modelId="{E316AA63-F4A7-4B80-A5DB-DD443ACAAD37}" type="pres">
      <dgm:prSet presAssocID="{7BA86CCC-A635-47F8-8000-88F2AA5B7EF2}" presName="iconBgRect" presStyleLbl="bgShp" presStyleIdx="1" presStyleCnt="4"/>
      <dgm:spPr/>
    </dgm:pt>
    <dgm:pt modelId="{92816A3A-7DDA-4590-B1ED-125E33238364}" type="pres">
      <dgm:prSet presAssocID="{7BA86CCC-A635-47F8-8000-88F2AA5B7EF2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lose outline"/>
        </a:ext>
      </dgm:extLst>
    </dgm:pt>
    <dgm:pt modelId="{21295D3F-6311-4F23-B715-F667B7E79D5B}" type="pres">
      <dgm:prSet presAssocID="{7BA86CCC-A635-47F8-8000-88F2AA5B7EF2}" presName="spaceRect" presStyleCnt="0"/>
      <dgm:spPr/>
    </dgm:pt>
    <dgm:pt modelId="{68B140DB-D397-4ACB-B997-AD6B9BCC0F1B}" type="pres">
      <dgm:prSet presAssocID="{7BA86CCC-A635-47F8-8000-88F2AA5B7EF2}" presName="textRect" presStyleLbl="revTx" presStyleIdx="1" presStyleCnt="4">
        <dgm:presLayoutVars>
          <dgm:chMax val="1"/>
          <dgm:chPref val="1"/>
        </dgm:presLayoutVars>
      </dgm:prSet>
      <dgm:spPr/>
    </dgm:pt>
    <dgm:pt modelId="{ECE8C533-36D1-4578-8321-ACB97803A4CF}" type="pres">
      <dgm:prSet presAssocID="{C06CF251-114D-4278-8E52-3EFCAD69FEBC}" presName="sibTrans" presStyleLbl="sibTrans2D1" presStyleIdx="0" presStyleCnt="0"/>
      <dgm:spPr/>
    </dgm:pt>
    <dgm:pt modelId="{A32A0DE5-D707-4F13-8112-6325420EEB59}" type="pres">
      <dgm:prSet presAssocID="{3323AB42-24D6-40FF-8B84-02B9767B8B05}" presName="compNode" presStyleCnt="0"/>
      <dgm:spPr/>
    </dgm:pt>
    <dgm:pt modelId="{6C75E48D-84AD-4A4D-A46D-ED7605887EBA}" type="pres">
      <dgm:prSet presAssocID="{3323AB42-24D6-40FF-8B84-02B9767B8B05}" presName="iconBgRect" presStyleLbl="bgShp" presStyleIdx="2" presStyleCnt="4"/>
      <dgm:spPr/>
    </dgm:pt>
    <dgm:pt modelId="{FEB4A2F9-83BA-4996-B171-E61ADBDD3B26}" type="pres">
      <dgm:prSet presAssocID="{3323AB42-24D6-40FF-8B84-02B9767B8B05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erson eating outline"/>
        </a:ext>
      </dgm:extLst>
    </dgm:pt>
    <dgm:pt modelId="{CE38BEE2-EE4D-4E42-803F-5DE22D1F1AB2}" type="pres">
      <dgm:prSet presAssocID="{3323AB42-24D6-40FF-8B84-02B9767B8B05}" presName="spaceRect" presStyleCnt="0"/>
      <dgm:spPr/>
    </dgm:pt>
    <dgm:pt modelId="{6191CE4C-2A60-4F94-AEA7-2B149EB07832}" type="pres">
      <dgm:prSet presAssocID="{3323AB42-24D6-40FF-8B84-02B9767B8B05}" presName="textRect" presStyleLbl="revTx" presStyleIdx="2" presStyleCnt="4">
        <dgm:presLayoutVars>
          <dgm:chMax val="1"/>
          <dgm:chPref val="1"/>
        </dgm:presLayoutVars>
      </dgm:prSet>
      <dgm:spPr/>
    </dgm:pt>
    <dgm:pt modelId="{658AF018-8981-4C02-A7AC-5968D35CC31C}" type="pres">
      <dgm:prSet presAssocID="{0FDF15F4-1010-40C4-95FB-B64EBCFEB436}" presName="sibTrans" presStyleLbl="sibTrans2D1" presStyleIdx="0" presStyleCnt="0"/>
      <dgm:spPr/>
    </dgm:pt>
    <dgm:pt modelId="{C6057C2F-F53A-40F3-938C-CD12BFA83FCC}" type="pres">
      <dgm:prSet presAssocID="{FC7599C9-FF90-40BA-A188-DF490BB05EE3}" presName="compNode" presStyleCnt="0"/>
      <dgm:spPr/>
    </dgm:pt>
    <dgm:pt modelId="{84D85CC4-1770-4F72-87B5-7AB5595D2C98}" type="pres">
      <dgm:prSet presAssocID="{FC7599C9-FF90-40BA-A188-DF490BB05EE3}" presName="iconBgRect" presStyleLbl="bgShp" presStyleIdx="3" presStyleCnt="4"/>
      <dgm:spPr/>
    </dgm:pt>
    <dgm:pt modelId="{00044663-ACAA-448C-BE98-BFB62B948D88}" type="pres">
      <dgm:prSet presAssocID="{FC7599C9-FF90-40BA-A188-DF490BB05EE3}" presName="iconRect" presStyleLbl="node1" presStyleIdx="3" presStyleCnt="4" custLinFactNeighborX="1525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lay with solid fill"/>
        </a:ext>
      </dgm:extLst>
    </dgm:pt>
    <dgm:pt modelId="{FD78FF5F-078D-4002-A55B-CE70CC3D9B1B}" type="pres">
      <dgm:prSet presAssocID="{FC7599C9-FF90-40BA-A188-DF490BB05EE3}" presName="spaceRect" presStyleCnt="0"/>
      <dgm:spPr/>
    </dgm:pt>
    <dgm:pt modelId="{02DFA1F2-6444-4135-BF25-4FD668B5ACBD}" type="pres">
      <dgm:prSet presAssocID="{FC7599C9-FF90-40BA-A188-DF490BB05EE3}" presName="textRect" presStyleLbl="revTx" presStyleIdx="3" presStyleCnt="4">
        <dgm:presLayoutVars>
          <dgm:chMax val="1"/>
          <dgm:chPref val="1"/>
        </dgm:presLayoutVars>
      </dgm:prSet>
      <dgm:spPr/>
    </dgm:pt>
  </dgm:ptLst>
  <dgm:cxnLst>
    <dgm:cxn modelId="{F3F32301-5FD3-438D-AC00-CE77AE26F654}" type="presOf" srcId="{0FDF15F4-1010-40C4-95FB-B64EBCFEB436}" destId="{658AF018-8981-4C02-A7AC-5968D35CC31C}" srcOrd="0" destOrd="0" presId="urn:microsoft.com/office/officeart/2018/2/layout/IconCircleList"/>
    <dgm:cxn modelId="{5FD58716-E422-4F73-9ADF-D8DF7C9E817D}" type="presOf" srcId="{0C546FC3-BDCF-4CFE-A3D0-75E2AE5B0B3C}" destId="{1E7298E7-00B0-42CA-964B-3ECFBE323CC8}" srcOrd="0" destOrd="0" presId="urn:microsoft.com/office/officeart/2018/2/layout/IconCircleList"/>
    <dgm:cxn modelId="{D1559718-9FDC-4E94-8B56-6DB4345AE58F}" type="presOf" srcId="{3323AB42-24D6-40FF-8B84-02B9767B8B05}" destId="{6191CE4C-2A60-4F94-AEA7-2B149EB07832}" srcOrd="0" destOrd="0" presId="urn:microsoft.com/office/officeart/2018/2/layout/IconCircleList"/>
    <dgm:cxn modelId="{A4A81E32-1309-4B29-8D05-73EA5DA2DD10}" srcId="{0C546FC3-BDCF-4CFE-A3D0-75E2AE5B0B3C}" destId="{7BA86CCC-A635-47F8-8000-88F2AA5B7EF2}" srcOrd="1" destOrd="0" parTransId="{9FEB6040-44C1-4F55-BF27-FC6BA8DF7D27}" sibTransId="{C06CF251-114D-4278-8E52-3EFCAD69FEBC}"/>
    <dgm:cxn modelId="{C5A6A238-9F5D-4092-A424-EFD14F702E96}" srcId="{0C546FC3-BDCF-4CFE-A3D0-75E2AE5B0B3C}" destId="{CC596908-905B-43BB-AAF3-8B940E2A67C7}" srcOrd="0" destOrd="0" parTransId="{8DFAAB25-6AC9-4F5A-8762-D9D3844BC666}" sibTransId="{1B85AB6F-5195-42EB-B09A-CFD82FBC151A}"/>
    <dgm:cxn modelId="{36B80467-6866-4982-ACCB-0A5E16FFCA04}" type="presOf" srcId="{FC7599C9-FF90-40BA-A188-DF490BB05EE3}" destId="{02DFA1F2-6444-4135-BF25-4FD668B5ACBD}" srcOrd="0" destOrd="0" presId="urn:microsoft.com/office/officeart/2018/2/layout/IconCircleList"/>
    <dgm:cxn modelId="{786B574B-9D87-4300-8E47-D297C987CD1D}" type="presOf" srcId="{1B85AB6F-5195-42EB-B09A-CFD82FBC151A}" destId="{C3F92BC5-7361-471D-9C52-67400492EC3F}" srcOrd="0" destOrd="0" presId="urn:microsoft.com/office/officeart/2018/2/layout/IconCircleList"/>
    <dgm:cxn modelId="{F1B4BF85-37FB-437A-922F-25D26E130AA4}" type="presOf" srcId="{C06CF251-114D-4278-8E52-3EFCAD69FEBC}" destId="{ECE8C533-36D1-4578-8321-ACB97803A4CF}" srcOrd="0" destOrd="0" presId="urn:microsoft.com/office/officeart/2018/2/layout/IconCircleList"/>
    <dgm:cxn modelId="{A1B38C8D-B4C5-4BA8-A7C7-A1434D3D9DD6}" srcId="{0C546FC3-BDCF-4CFE-A3D0-75E2AE5B0B3C}" destId="{FC7599C9-FF90-40BA-A188-DF490BB05EE3}" srcOrd="3" destOrd="0" parTransId="{5AB42CEF-E0A4-4024-9DA6-E694B472619C}" sibTransId="{42C5342B-422A-4F83-B530-F8C778CB4E4B}"/>
    <dgm:cxn modelId="{9A6B9BA5-CFFD-4255-BDF6-F6E426E3261E}" srcId="{0C546FC3-BDCF-4CFE-A3D0-75E2AE5B0B3C}" destId="{3323AB42-24D6-40FF-8B84-02B9767B8B05}" srcOrd="2" destOrd="0" parTransId="{25425187-0DAA-4A8A-9588-AA6DB5FF069F}" sibTransId="{0FDF15F4-1010-40C4-95FB-B64EBCFEB436}"/>
    <dgm:cxn modelId="{BBF1E9CF-D0C7-4F29-B287-84EBABD95C2E}" type="presOf" srcId="{7BA86CCC-A635-47F8-8000-88F2AA5B7EF2}" destId="{68B140DB-D397-4ACB-B997-AD6B9BCC0F1B}" srcOrd="0" destOrd="0" presId="urn:microsoft.com/office/officeart/2018/2/layout/IconCircleList"/>
    <dgm:cxn modelId="{51B9D5E6-E94F-42E3-A752-F0B8734837F2}" type="presOf" srcId="{CC596908-905B-43BB-AAF3-8B940E2A67C7}" destId="{2FF4BE6B-1CDE-4362-B5C5-03F1B462F660}" srcOrd="0" destOrd="0" presId="urn:microsoft.com/office/officeart/2018/2/layout/IconCircleList"/>
    <dgm:cxn modelId="{F2CC2C15-7CDF-45DF-97DF-59FB7FFAB5EC}" type="presParOf" srcId="{1E7298E7-00B0-42CA-964B-3ECFBE323CC8}" destId="{7E2377CB-1806-406F-BB4E-9CFC6F474059}" srcOrd="0" destOrd="0" presId="urn:microsoft.com/office/officeart/2018/2/layout/IconCircleList"/>
    <dgm:cxn modelId="{C3939D23-589C-4C8E-B115-C49BEB266D6B}" type="presParOf" srcId="{7E2377CB-1806-406F-BB4E-9CFC6F474059}" destId="{7789217C-A26B-467A-ABBD-4C36DBBBA8C0}" srcOrd="0" destOrd="0" presId="urn:microsoft.com/office/officeart/2018/2/layout/IconCircleList"/>
    <dgm:cxn modelId="{314A0C84-E824-4FB8-AD12-3916CA2952EA}" type="presParOf" srcId="{7789217C-A26B-467A-ABBD-4C36DBBBA8C0}" destId="{5E8419E1-E8F7-4A2D-95E3-B5CB742C6860}" srcOrd="0" destOrd="0" presId="urn:microsoft.com/office/officeart/2018/2/layout/IconCircleList"/>
    <dgm:cxn modelId="{FB91F1C9-346A-4BED-8FDC-BE773B26AEB6}" type="presParOf" srcId="{7789217C-A26B-467A-ABBD-4C36DBBBA8C0}" destId="{F6E0E646-B74C-4915-A5E2-C58E9D2FE95E}" srcOrd="1" destOrd="0" presId="urn:microsoft.com/office/officeart/2018/2/layout/IconCircleList"/>
    <dgm:cxn modelId="{CD15DC57-640C-4534-9B6A-480C9AFAEEBE}" type="presParOf" srcId="{7789217C-A26B-467A-ABBD-4C36DBBBA8C0}" destId="{5769DB74-7074-45D2-A0E8-C6351C6EB53C}" srcOrd="2" destOrd="0" presId="urn:microsoft.com/office/officeart/2018/2/layout/IconCircleList"/>
    <dgm:cxn modelId="{EFA67811-BF36-43E3-A0B4-B64BA3F7C591}" type="presParOf" srcId="{7789217C-A26B-467A-ABBD-4C36DBBBA8C0}" destId="{2FF4BE6B-1CDE-4362-B5C5-03F1B462F660}" srcOrd="3" destOrd="0" presId="urn:microsoft.com/office/officeart/2018/2/layout/IconCircleList"/>
    <dgm:cxn modelId="{583FA8A3-4EEB-4E9D-A227-78B75A9D5838}" type="presParOf" srcId="{7E2377CB-1806-406F-BB4E-9CFC6F474059}" destId="{C3F92BC5-7361-471D-9C52-67400492EC3F}" srcOrd="1" destOrd="0" presId="urn:microsoft.com/office/officeart/2018/2/layout/IconCircleList"/>
    <dgm:cxn modelId="{AC8A1F9F-D400-4C1F-A610-95B698C65B84}" type="presParOf" srcId="{7E2377CB-1806-406F-BB4E-9CFC6F474059}" destId="{CBFCFE31-57A7-452F-B909-C42EBB50854D}" srcOrd="2" destOrd="0" presId="urn:microsoft.com/office/officeart/2018/2/layout/IconCircleList"/>
    <dgm:cxn modelId="{36D008C7-9324-4F94-90EE-FA3EDE3B7E3A}" type="presParOf" srcId="{CBFCFE31-57A7-452F-B909-C42EBB50854D}" destId="{E316AA63-F4A7-4B80-A5DB-DD443ACAAD37}" srcOrd="0" destOrd="0" presId="urn:microsoft.com/office/officeart/2018/2/layout/IconCircleList"/>
    <dgm:cxn modelId="{F24B5AE0-7FDF-4D0E-AE82-10254188EA66}" type="presParOf" srcId="{CBFCFE31-57A7-452F-B909-C42EBB50854D}" destId="{92816A3A-7DDA-4590-B1ED-125E33238364}" srcOrd="1" destOrd="0" presId="urn:microsoft.com/office/officeart/2018/2/layout/IconCircleList"/>
    <dgm:cxn modelId="{95957011-A56D-4110-8E7E-0F85C75B02B0}" type="presParOf" srcId="{CBFCFE31-57A7-452F-B909-C42EBB50854D}" destId="{21295D3F-6311-4F23-B715-F667B7E79D5B}" srcOrd="2" destOrd="0" presId="urn:microsoft.com/office/officeart/2018/2/layout/IconCircleList"/>
    <dgm:cxn modelId="{D0223586-379A-4D8A-A195-28284F4AD22A}" type="presParOf" srcId="{CBFCFE31-57A7-452F-B909-C42EBB50854D}" destId="{68B140DB-D397-4ACB-B997-AD6B9BCC0F1B}" srcOrd="3" destOrd="0" presId="urn:microsoft.com/office/officeart/2018/2/layout/IconCircleList"/>
    <dgm:cxn modelId="{18C23B71-586F-42EE-9342-843709BAEA55}" type="presParOf" srcId="{7E2377CB-1806-406F-BB4E-9CFC6F474059}" destId="{ECE8C533-36D1-4578-8321-ACB97803A4CF}" srcOrd="3" destOrd="0" presId="urn:microsoft.com/office/officeart/2018/2/layout/IconCircleList"/>
    <dgm:cxn modelId="{63F21059-DE27-4349-8961-B1696782F3F3}" type="presParOf" srcId="{7E2377CB-1806-406F-BB4E-9CFC6F474059}" destId="{A32A0DE5-D707-4F13-8112-6325420EEB59}" srcOrd="4" destOrd="0" presId="urn:microsoft.com/office/officeart/2018/2/layout/IconCircleList"/>
    <dgm:cxn modelId="{48E7FD26-8ABB-41FC-AA3B-B4B9B98B87AA}" type="presParOf" srcId="{A32A0DE5-D707-4F13-8112-6325420EEB59}" destId="{6C75E48D-84AD-4A4D-A46D-ED7605887EBA}" srcOrd="0" destOrd="0" presId="urn:microsoft.com/office/officeart/2018/2/layout/IconCircleList"/>
    <dgm:cxn modelId="{1CA20DD2-4FCF-4CDB-AD14-2C8170FF2DEA}" type="presParOf" srcId="{A32A0DE5-D707-4F13-8112-6325420EEB59}" destId="{FEB4A2F9-83BA-4996-B171-E61ADBDD3B26}" srcOrd="1" destOrd="0" presId="urn:microsoft.com/office/officeart/2018/2/layout/IconCircleList"/>
    <dgm:cxn modelId="{44E76F3D-0E0D-417D-A7B2-5051F312E64F}" type="presParOf" srcId="{A32A0DE5-D707-4F13-8112-6325420EEB59}" destId="{CE38BEE2-EE4D-4E42-803F-5DE22D1F1AB2}" srcOrd="2" destOrd="0" presId="urn:microsoft.com/office/officeart/2018/2/layout/IconCircleList"/>
    <dgm:cxn modelId="{306DD8AB-0449-4A71-8B18-69D4AE7DBD55}" type="presParOf" srcId="{A32A0DE5-D707-4F13-8112-6325420EEB59}" destId="{6191CE4C-2A60-4F94-AEA7-2B149EB07832}" srcOrd="3" destOrd="0" presId="urn:microsoft.com/office/officeart/2018/2/layout/IconCircleList"/>
    <dgm:cxn modelId="{C01C9B09-2A1D-4BF4-BC8D-398799BACC2C}" type="presParOf" srcId="{7E2377CB-1806-406F-BB4E-9CFC6F474059}" destId="{658AF018-8981-4C02-A7AC-5968D35CC31C}" srcOrd="5" destOrd="0" presId="urn:microsoft.com/office/officeart/2018/2/layout/IconCircleList"/>
    <dgm:cxn modelId="{C1366712-DD45-4571-A7DC-796E7318D7C6}" type="presParOf" srcId="{7E2377CB-1806-406F-BB4E-9CFC6F474059}" destId="{C6057C2F-F53A-40F3-938C-CD12BFA83FCC}" srcOrd="6" destOrd="0" presId="urn:microsoft.com/office/officeart/2018/2/layout/IconCircleList"/>
    <dgm:cxn modelId="{0B2D1AC5-662C-41B2-8A66-D6D0EEC9480F}" type="presParOf" srcId="{C6057C2F-F53A-40F3-938C-CD12BFA83FCC}" destId="{84D85CC4-1770-4F72-87B5-7AB5595D2C98}" srcOrd="0" destOrd="0" presId="urn:microsoft.com/office/officeart/2018/2/layout/IconCircleList"/>
    <dgm:cxn modelId="{80ED9F57-39AC-4F9E-B3F7-E2CA63C3BC96}" type="presParOf" srcId="{C6057C2F-F53A-40F3-938C-CD12BFA83FCC}" destId="{00044663-ACAA-448C-BE98-BFB62B948D88}" srcOrd="1" destOrd="0" presId="urn:microsoft.com/office/officeart/2018/2/layout/IconCircleList"/>
    <dgm:cxn modelId="{70EDCFD7-FBF1-4D5D-A8CD-6D3C3F72928C}" type="presParOf" srcId="{C6057C2F-F53A-40F3-938C-CD12BFA83FCC}" destId="{FD78FF5F-078D-4002-A55B-CE70CC3D9B1B}" srcOrd="2" destOrd="0" presId="urn:microsoft.com/office/officeart/2018/2/layout/IconCircleList"/>
    <dgm:cxn modelId="{5651F758-5EB5-45A6-BA97-6B0F0D0DF46D}" type="presParOf" srcId="{C6057C2F-F53A-40F3-938C-CD12BFA83FCC}" destId="{02DFA1F2-6444-4135-BF25-4FD668B5ACBD}" srcOrd="3" destOrd="0" presId="urn:microsoft.com/office/officeart/2018/2/layout/IconCircle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B8A38E0-435C-45F6-8E47-6957C5E111B6}">
      <dsp:nvSpPr>
        <dsp:cNvPr id="0" name=""/>
        <dsp:cNvSpPr/>
      </dsp:nvSpPr>
      <dsp:spPr>
        <a:xfrm>
          <a:off x="619547" y="546829"/>
          <a:ext cx="1010496" cy="848635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DADC7B3-B754-466D-B66E-E8CF7CC711A1}">
      <dsp:nvSpPr>
        <dsp:cNvPr id="0" name=""/>
        <dsp:cNvSpPr/>
      </dsp:nvSpPr>
      <dsp:spPr>
        <a:xfrm>
          <a:off x="6826" y="1434243"/>
          <a:ext cx="2235937" cy="7817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1800" kern="1200" dirty="0">
              <a:solidFill>
                <a:schemeClr val="bg1"/>
              </a:solidFill>
            </a:rPr>
            <a:t>Business </a:t>
          </a:r>
        </a:p>
        <a:p>
          <a:pPr marL="0" lvl="0" indent="0" algn="ctr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1800" kern="1200" dirty="0">
              <a:solidFill>
                <a:schemeClr val="bg1"/>
              </a:solidFill>
            </a:rPr>
            <a:t>Administration </a:t>
          </a:r>
          <a:endParaRPr lang="en-US" sz="1800" kern="1200" dirty="0">
            <a:solidFill>
              <a:schemeClr val="bg1"/>
            </a:solidFill>
          </a:endParaRPr>
        </a:p>
      </dsp:txBody>
      <dsp:txXfrm>
        <a:off x="6826" y="1434243"/>
        <a:ext cx="2235937" cy="781764"/>
      </dsp:txXfrm>
    </dsp:sp>
    <dsp:sp modelId="{0396221B-149F-475B-9CF0-47DD7BC1F7C8}">
      <dsp:nvSpPr>
        <dsp:cNvPr id="0" name=""/>
        <dsp:cNvSpPr/>
      </dsp:nvSpPr>
      <dsp:spPr>
        <a:xfrm>
          <a:off x="6826" y="2249406"/>
          <a:ext cx="2235937" cy="54296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>
              <a:solidFill>
                <a:schemeClr val="bg1"/>
              </a:solidFill>
            </a:rPr>
            <a:t>Level 3</a:t>
          </a:r>
          <a:endParaRPr lang="en-US" sz="1600" kern="1200" dirty="0">
            <a:solidFill>
              <a:schemeClr val="bg1"/>
            </a:solidFill>
          </a:endParaRPr>
        </a:p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>
              <a:solidFill>
                <a:schemeClr val="bg1"/>
              </a:solidFill>
            </a:rPr>
            <a:t>2 Years</a:t>
          </a:r>
          <a:endParaRPr lang="en-US" sz="1600" kern="1200" dirty="0">
            <a:solidFill>
              <a:schemeClr val="bg1"/>
            </a:solidFill>
          </a:endParaRPr>
        </a:p>
      </dsp:txBody>
      <dsp:txXfrm>
        <a:off x="6826" y="2249406"/>
        <a:ext cx="2235937" cy="542961"/>
      </dsp:txXfrm>
    </dsp:sp>
    <dsp:sp modelId="{FA06419D-537D-4E22-BBAF-D8DC22023549}">
      <dsp:nvSpPr>
        <dsp:cNvPr id="0" name=""/>
        <dsp:cNvSpPr/>
      </dsp:nvSpPr>
      <dsp:spPr>
        <a:xfrm>
          <a:off x="3551373" y="563344"/>
          <a:ext cx="1011349" cy="782578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9037C8D-5C66-4D5F-B800-77557D2FCC8A}">
      <dsp:nvSpPr>
        <dsp:cNvPr id="0" name=""/>
        <dsp:cNvSpPr/>
      </dsp:nvSpPr>
      <dsp:spPr>
        <a:xfrm>
          <a:off x="2634053" y="1417729"/>
          <a:ext cx="2845990" cy="7817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1800" i="0" kern="1200" dirty="0">
              <a:solidFill>
                <a:schemeClr val="bg1"/>
              </a:solidFill>
            </a:rPr>
            <a:t>Craft</a:t>
          </a:r>
          <a:br>
            <a:rPr lang="en-GB" sz="1800" i="1" kern="1200" dirty="0">
              <a:solidFill>
                <a:schemeClr val="bg1"/>
              </a:solidFill>
            </a:rPr>
          </a:br>
          <a:r>
            <a:rPr lang="en-GB" sz="1200" i="1" kern="1200" dirty="0">
              <a:solidFill>
                <a:schemeClr val="bg1"/>
              </a:solidFill>
            </a:rPr>
            <a:t>(including Fabricator, Machinist, Maintenance (Electrical &amp; Mechanical), Welding)</a:t>
          </a:r>
          <a:endParaRPr lang="en-US" sz="1800" i="1" kern="1200" dirty="0">
            <a:solidFill>
              <a:schemeClr val="bg1"/>
            </a:solidFill>
          </a:endParaRPr>
        </a:p>
      </dsp:txBody>
      <dsp:txXfrm>
        <a:off x="2634053" y="1417729"/>
        <a:ext cx="2845990" cy="781764"/>
      </dsp:txXfrm>
    </dsp:sp>
    <dsp:sp modelId="{84FBC90C-4BA3-431E-AF40-75C144AC7384}">
      <dsp:nvSpPr>
        <dsp:cNvPr id="0" name=""/>
        <dsp:cNvSpPr/>
      </dsp:nvSpPr>
      <dsp:spPr>
        <a:xfrm>
          <a:off x="2939079" y="2232892"/>
          <a:ext cx="2235937" cy="54296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>
              <a:solidFill>
                <a:schemeClr val="bg1"/>
              </a:solidFill>
            </a:rPr>
            <a:t>Level 3</a:t>
          </a:r>
          <a:endParaRPr lang="en-US" sz="1600" kern="1200">
            <a:solidFill>
              <a:schemeClr val="bg1"/>
            </a:solidFill>
          </a:endParaRPr>
        </a:p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>
              <a:solidFill>
                <a:schemeClr val="bg1"/>
              </a:solidFill>
            </a:rPr>
            <a:t>4 Years</a:t>
          </a:r>
          <a:endParaRPr lang="en-US" sz="1600" kern="1200" dirty="0">
            <a:solidFill>
              <a:schemeClr val="bg1"/>
            </a:solidFill>
          </a:endParaRPr>
        </a:p>
      </dsp:txBody>
      <dsp:txXfrm>
        <a:off x="2939079" y="2232892"/>
        <a:ext cx="2235937" cy="542961"/>
      </dsp:txXfrm>
    </dsp:sp>
    <dsp:sp modelId="{0FAB1363-6388-42E5-B541-8A6262AAE95C}">
      <dsp:nvSpPr>
        <dsp:cNvPr id="0" name=""/>
        <dsp:cNvSpPr/>
      </dsp:nvSpPr>
      <dsp:spPr>
        <a:xfrm>
          <a:off x="6483627" y="545245"/>
          <a:ext cx="1011349" cy="782578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8A7BB79-979E-4333-961B-4E9D508A0E49}">
      <dsp:nvSpPr>
        <dsp:cNvPr id="0" name=""/>
        <dsp:cNvSpPr/>
      </dsp:nvSpPr>
      <dsp:spPr>
        <a:xfrm>
          <a:off x="5871332" y="1399630"/>
          <a:ext cx="2235937" cy="7817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1800" kern="1200" dirty="0">
              <a:solidFill>
                <a:schemeClr val="bg1"/>
              </a:solidFill>
            </a:rPr>
            <a:t>Nuclear Welding Inspection Technician</a:t>
          </a:r>
          <a:endParaRPr lang="en-US" sz="1800" kern="1200" dirty="0">
            <a:solidFill>
              <a:schemeClr val="bg1"/>
            </a:solidFill>
          </a:endParaRPr>
        </a:p>
      </dsp:txBody>
      <dsp:txXfrm>
        <a:off x="5871332" y="1399630"/>
        <a:ext cx="2235937" cy="781764"/>
      </dsp:txXfrm>
    </dsp:sp>
    <dsp:sp modelId="{E14BC8B3-D050-45C0-93EA-731B8521D4CF}">
      <dsp:nvSpPr>
        <dsp:cNvPr id="0" name=""/>
        <dsp:cNvSpPr/>
      </dsp:nvSpPr>
      <dsp:spPr>
        <a:xfrm>
          <a:off x="5871332" y="2214793"/>
          <a:ext cx="2235937" cy="57915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 dirty="0">
              <a:solidFill>
                <a:schemeClr val="bg1"/>
              </a:solidFill>
            </a:rPr>
            <a:t>Level 4</a:t>
          </a:r>
          <a:endParaRPr lang="en-US" sz="1700" kern="1200" dirty="0">
            <a:solidFill>
              <a:schemeClr val="bg1"/>
            </a:solidFill>
          </a:endParaRPr>
        </a:p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 dirty="0">
              <a:solidFill>
                <a:schemeClr val="bg1"/>
              </a:solidFill>
            </a:rPr>
            <a:t>4 Years</a:t>
          </a:r>
          <a:endParaRPr lang="en-US" sz="1700" kern="1200" dirty="0">
            <a:solidFill>
              <a:schemeClr val="bg1"/>
            </a:solidFill>
          </a:endParaRPr>
        </a:p>
      </dsp:txBody>
      <dsp:txXfrm>
        <a:off x="5871332" y="2214793"/>
        <a:ext cx="2235937" cy="57915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E612F4C-AB6B-48F3-8DAD-89BB9C3A6A7F}">
      <dsp:nvSpPr>
        <dsp:cNvPr id="0" name=""/>
        <dsp:cNvSpPr/>
      </dsp:nvSpPr>
      <dsp:spPr>
        <a:xfrm>
          <a:off x="1000440" y="116868"/>
          <a:ext cx="1069462" cy="1069462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8F7AEBF-7018-47FA-AC6C-14E039AF4664}">
      <dsp:nvSpPr>
        <dsp:cNvPr id="0" name=""/>
        <dsp:cNvSpPr/>
      </dsp:nvSpPr>
      <dsp:spPr>
        <a:xfrm>
          <a:off x="7368" y="1281407"/>
          <a:ext cx="3055606" cy="4583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1800" kern="1200" dirty="0">
              <a:solidFill>
                <a:schemeClr val="bg1"/>
              </a:solidFill>
            </a:rPr>
            <a:t>Health Physics Monitor</a:t>
          </a:r>
          <a:endParaRPr lang="en-US" kern="1200" dirty="0">
            <a:solidFill>
              <a:schemeClr val="bg1"/>
            </a:solidFill>
          </a:endParaRPr>
        </a:p>
      </dsp:txBody>
      <dsp:txXfrm>
        <a:off x="7368" y="1281407"/>
        <a:ext cx="3055606" cy="458341"/>
      </dsp:txXfrm>
    </dsp:sp>
    <dsp:sp modelId="{B941B161-0604-467B-8B56-504664957709}">
      <dsp:nvSpPr>
        <dsp:cNvPr id="0" name=""/>
        <dsp:cNvSpPr/>
      </dsp:nvSpPr>
      <dsp:spPr>
        <a:xfrm>
          <a:off x="7368" y="1783970"/>
          <a:ext cx="3055606" cy="5439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>
              <a:solidFill>
                <a:schemeClr val="bg1"/>
              </a:solidFill>
            </a:rPr>
            <a:t>Level 2</a:t>
          </a:r>
          <a:endParaRPr lang="en-US" sz="1600" kern="1200" dirty="0">
            <a:solidFill>
              <a:schemeClr val="bg1"/>
            </a:solidFill>
          </a:endParaRPr>
        </a:p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>
              <a:solidFill>
                <a:schemeClr val="bg1"/>
              </a:solidFill>
            </a:rPr>
            <a:t>2 Years</a:t>
          </a:r>
          <a:endParaRPr lang="en-US" sz="1600" kern="1200" dirty="0">
            <a:solidFill>
              <a:schemeClr val="bg1"/>
            </a:solidFill>
          </a:endParaRPr>
        </a:p>
      </dsp:txBody>
      <dsp:txXfrm>
        <a:off x="7368" y="1783970"/>
        <a:ext cx="3055606" cy="543976"/>
      </dsp:txXfrm>
    </dsp:sp>
    <dsp:sp modelId="{F7F3E7B7-8AF5-4992-A7DA-A00421788739}">
      <dsp:nvSpPr>
        <dsp:cNvPr id="0" name=""/>
        <dsp:cNvSpPr/>
      </dsp:nvSpPr>
      <dsp:spPr>
        <a:xfrm>
          <a:off x="4434460" y="116868"/>
          <a:ext cx="1382098" cy="1069462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9F6C7AF-CE4C-424A-A1BB-D2F39D52FF0A}">
      <dsp:nvSpPr>
        <dsp:cNvPr id="0" name=""/>
        <dsp:cNvSpPr/>
      </dsp:nvSpPr>
      <dsp:spPr>
        <a:xfrm>
          <a:off x="3597706" y="1281407"/>
          <a:ext cx="3055606" cy="4583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800" kern="1200" dirty="0">
              <a:solidFill>
                <a:schemeClr val="bg1"/>
              </a:solidFill>
            </a:rPr>
            <a:t>Nuclear Operator</a:t>
          </a:r>
        </a:p>
      </dsp:txBody>
      <dsp:txXfrm>
        <a:off x="3597706" y="1281407"/>
        <a:ext cx="3055606" cy="458341"/>
      </dsp:txXfrm>
    </dsp:sp>
    <dsp:sp modelId="{F85C9D4D-2C12-4A58-BD94-332FADCE9F09}">
      <dsp:nvSpPr>
        <dsp:cNvPr id="0" name=""/>
        <dsp:cNvSpPr/>
      </dsp:nvSpPr>
      <dsp:spPr>
        <a:xfrm>
          <a:off x="3597706" y="1783970"/>
          <a:ext cx="3055606" cy="5439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chemeClr val="bg1"/>
              </a:solidFill>
            </a:rPr>
            <a:t>Level 2</a:t>
          </a:r>
        </a:p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chemeClr val="bg1"/>
              </a:solidFill>
            </a:rPr>
            <a:t>2 Years</a:t>
          </a:r>
        </a:p>
      </dsp:txBody>
      <dsp:txXfrm>
        <a:off x="3597706" y="1783970"/>
        <a:ext cx="3055606" cy="54397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95D0582-FFDE-4A26-9204-24FC46381DF1}">
      <dsp:nvSpPr>
        <dsp:cNvPr id="0" name=""/>
        <dsp:cNvSpPr/>
      </dsp:nvSpPr>
      <dsp:spPr>
        <a:xfrm>
          <a:off x="2797" y="263343"/>
          <a:ext cx="2240949" cy="1287366"/>
        </a:xfrm>
        <a:prstGeom prst="roundRect">
          <a:avLst>
            <a:gd name="adj" fmla="val 10000"/>
          </a:avLst>
        </a:prstGeom>
        <a:solidFill>
          <a:schemeClr val="accent6">
            <a:shade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04" tIns="120904" rIns="120904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b="1" kern="1200" dirty="0"/>
            <a:t>Craft, Health Physics &amp; Nuclear Operator </a:t>
          </a:r>
        </a:p>
      </dsp:txBody>
      <dsp:txXfrm>
        <a:off x="2797" y="263343"/>
        <a:ext cx="2240949" cy="858244"/>
      </dsp:txXfrm>
    </dsp:sp>
    <dsp:sp modelId="{E6D0ACA2-2442-48E4-9109-330295D999C0}">
      <dsp:nvSpPr>
        <dsp:cNvPr id="0" name=""/>
        <dsp:cNvSpPr/>
      </dsp:nvSpPr>
      <dsp:spPr>
        <a:xfrm>
          <a:off x="242902" y="1121588"/>
          <a:ext cx="2678719" cy="33048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shade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GB" sz="1400" kern="1200" dirty="0">
              <a:latin typeface="+mn-lt"/>
            </a:rPr>
            <a:t>M</a:t>
          </a:r>
          <a:r>
            <a:rPr lang="en-GB" sz="1400" i="0" kern="1200" dirty="0">
              <a:effectLst/>
              <a:latin typeface="+mn-lt"/>
            </a:rPr>
            <a:t>inimum of 3 GCSEs Grade 4 (Grade C) in Mathematics, English Language &amp; one Science, or Engineering subject, or equivalent (e.g. Functional Skills Level 2).</a:t>
          </a:r>
          <a:r>
            <a:rPr lang="en-GB" sz="1400" kern="1200" dirty="0">
              <a:latin typeface="+mn-lt"/>
            </a:rPr>
            <a:t> </a:t>
          </a:r>
          <a:endParaRPr lang="en-GB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endParaRPr lang="en-GB" sz="1400" kern="1200" dirty="0"/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400" kern="1200" dirty="0">
              <a:latin typeface="+mn-lt"/>
            </a:rPr>
            <a:t>Age requirements for Health Physics (must be 18 by start date) and Nuclear Operator (must be 18 by February 2024) </a:t>
          </a:r>
        </a:p>
      </dsp:txBody>
      <dsp:txXfrm>
        <a:off x="321359" y="1200045"/>
        <a:ext cx="2521805" cy="3147886"/>
      </dsp:txXfrm>
    </dsp:sp>
    <dsp:sp modelId="{FC99202E-7208-4DFC-8A1E-4542C7A76C4D}">
      <dsp:nvSpPr>
        <dsp:cNvPr id="0" name=""/>
        <dsp:cNvSpPr/>
      </dsp:nvSpPr>
      <dsp:spPr>
        <a:xfrm>
          <a:off x="2638188" y="413500"/>
          <a:ext cx="836215" cy="557931"/>
        </a:xfrm>
        <a:prstGeom prst="rightArrow">
          <a:avLst>
            <a:gd name="adj1" fmla="val 60000"/>
            <a:gd name="adj2" fmla="val 50000"/>
          </a:avLst>
        </a:prstGeom>
        <a:solidFill>
          <a:schemeClr val="accent6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400" kern="1200"/>
        </a:p>
      </dsp:txBody>
      <dsp:txXfrm>
        <a:off x="2638188" y="525086"/>
        <a:ext cx="668836" cy="334759"/>
      </dsp:txXfrm>
    </dsp:sp>
    <dsp:sp modelId="{7E2B7FEA-8581-4729-BC02-68E29ED1E07E}">
      <dsp:nvSpPr>
        <dsp:cNvPr id="0" name=""/>
        <dsp:cNvSpPr/>
      </dsp:nvSpPr>
      <dsp:spPr>
        <a:xfrm>
          <a:off x="3821511" y="263343"/>
          <a:ext cx="2240949" cy="1287366"/>
        </a:xfrm>
        <a:prstGeom prst="roundRect">
          <a:avLst>
            <a:gd name="adj" fmla="val 10000"/>
          </a:avLst>
        </a:prstGeom>
        <a:solidFill>
          <a:schemeClr val="accent6">
            <a:shade val="50000"/>
            <a:hueOff val="365544"/>
            <a:satOff val="-60321"/>
            <a:lumOff val="3866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04" tIns="120904" rIns="120904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b="1" kern="1200" dirty="0"/>
            <a:t>Business Administration</a:t>
          </a:r>
        </a:p>
      </dsp:txBody>
      <dsp:txXfrm>
        <a:off x="3821511" y="263343"/>
        <a:ext cx="2240949" cy="858244"/>
      </dsp:txXfrm>
    </dsp:sp>
    <dsp:sp modelId="{4586A092-477E-40AB-9E2A-2D524518FF04}">
      <dsp:nvSpPr>
        <dsp:cNvPr id="0" name=""/>
        <dsp:cNvSpPr/>
      </dsp:nvSpPr>
      <dsp:spPr>
        <a:xfrm>
          <a:off x="4032182" y="1121588"/>
          <a:ext cx="2737589" cy="33048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shade val="50000"/>
              <a:hueOff val="365544"/>
              <a:satOff val="-60321"/>
              <a:lumOff val="3866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400" b="0" i="0" kern="1200" dirty="0">
              <a:effectLst/>
              <a:latin typeface="+mn-lt"/>
            </a:rPr>
            <a:t>Minimum of 3 GCSEs Grade 4 (Grade C) in Mathematics, English Language &amp; 1 Science/Engineering subject OR ICT subject (Business Studies, ICT Level 2, BTEC Level 2, Higher ECDL or similar) or equivalent (e.g. Functional Skills Level 2).</a:t>
          </a:r>
          <a:r>
            <a:rPr lang="en-GB" sz="1400" kern="1200" dirty="0">
              <a:latin typeface="+mn-lt"/>
            </a:rPr>
            <a:t> </a:t>
          </a:r>
          <a:endParaRPr lang="en-GB" sz="1400" kern="1200" dirty="0"/>
        </a:p>
      </dsp:txBody>
      <dsp:txXfrm>
        <a:off x="4112363" y="1201769"/>
        <a:ext cx="2577227" cy="3144438"/>
      </dsp:txXfrm>
    </dsp:sp>
    <dsp:sp modelId="{55AF1E38-7CB3-4EA2-BBA6-3A0E024DFD14}">
      <dsp:nvSpPr>
        <dsp:cNvPr id="0" name=""/>
        <dsp:cNvSpPr/>
      </dsp:nvSpPr>
      <dsp:spPr>
        <a:xfrm>
          <a:off x="6464261" y="413500"/>
          <a:ext cx="851815" cy="557931"/>
        </a:xfrm>
        <a:prstGeom prst="rightArrow">
          <a:avLst>
            <a:gd name="adj1" fmla="val 60000"/>
            <a:gd name="adj2" fmla="val 50000"/>
          </a:avLst>
        </a:prstGeom>
        <a:solidFill>
          <a:schemeClr val="accent6">
            <a:shade val="90000"/>
            <a:hueOff val="584121"/>
            <a:satOff val="-90768"/>
            <a:lumOff val="5618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400" kern="1200"/>
        </a:p>
      </dsp:txBody>
      <dsp:txXfrm>
        <a:off x="6464261" y="525086"/>
        <a:ext cx="684436" cy="334759"/>
      </dsp:txXfrm>
    </dsp:sp>
    <dsp:sp modelId="{A87DF6D6-737B-461D-BB15-A658B7C5F337}">
      <dsp:nvSpPr>
        <dsp:cNvPr id="0" name=""/>
        <dsp:cNvSpPr/>
      </dsp:nvSpPr>
      <dsp:spPr>
        <a:xfrm>
          <a:off x="7669661" y="263343"/>
          <a:ext cx="2240949" cy="1287366"/>
        </a:xfrm>
        <a:prstGeom prst="roundRect">
          <a:avLst>
            <a:gd name="adj" fmla="val 10000"/>
          </a:avLst>
        </a:prstGeom>
        <a:solidFill>
          <a:schemeClr val="accent6">
            <a:shade val="50000"/>
            <a:hueOff val="365544"/>
            <a:satOff val="-60321"/>
            <a:lumOff val="3866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04" tIns="120904" rIns="120904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b="1" kern="1200" dirty="0"/>
            <a:t>Nuclear Welding Inspection Technician </a:t>
          </a:r>
        </a:p>
      </dsp:txBody>
      <dsp:txXfrm>
        <a:off x="7669661" y="263343"/>
        <a:ext cx="2240949" cy="858244"/>
      </dsp:txXfrm>
    </dsp:sp>
    <dsp:sp modelId="{129A78B8-3DAF-4E42-991E-31BB9B6811CC}">
      <dsp:nvSpPr>
        <dsp:cNvPr id="0" name=""/>
        <dsp:cNvSpPr/>
      </dsp:nvSpPr>
      <dsp:spPr>
        <a:xfrm>
          <a:off x="7846952" y="1111971"/>
          <a:ext cx="2804347" cy="33048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shade val="50000"/>
              <a:hueOff val="365544"/>
              <a:satOff val="-60321"/>
              <a:lumOff val="3866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400" b="0" i="0" kern="1200" dirty="0">
              <a:effectLst/>
              <a:latin typeface="+mn-lt"/>
            </a:rPr>
            <a:t>Minimum of 5 GCSEs at Grade 4 (Grades A to C) including 1 Science or Engineering subject or equivalent (e.g. Functional Skills Level 2) &amp; Mathematics and English Language at Grade 5 (Grade B) or above.</a:t>
          </a:r>
          <a:endParaRPr lang="en-GB" sz="1400" kern="1200" dirty="0"/>
        </a:p>
      </dsp:txBody>
      <dsp:txXfrm>
        <a:off x="7929089" y="1194108"/>
        <a:ext cx="2640073" cy="314052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B8217F1-BCE4-46AC-ABB1-08C807EF9B7E}">
      <dsp:nvSpPr>
        <dsp:cNvPr id="0" name=""/>
        <dsp:cNvSpPr/>
      </dsp:nvSpPr>
      <dsp:spPr>
        <a:xfrm>
          <a:off x="3594" y="355091"/>
          <a:ext cx="1946002" cy="1167601"/>
        </a:xfrm>
        <a:prstGeom prst="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0" i="0" kern="1200" dirty="0"/>
            <a:t>Digital Technology Solutions</a:t>
          </a:r>
          <a:endParaRPr lang="en-US" sz="2000" kern="1200" dirty="0"/>
        </a:p>
      </dsp:txBody>
      <dsp:txXfrm>
        <a:off x="3594" y="355091"/>
        <a:ext cx="1946002" cy="1167601"/>
      </dsp:txXfrm>
    </dsp:sp>
    <dsp:sp modelId="{888935CE-C712-467D-8538-FADC2185D8DD}">
      <dsp:nvSpPr>
        <dsp:cNvPr id="0" name=""/>
        <dsp:cNvSpPr/>
      </dsp:nvSpPr>
      <dsp:spPr>
        <a:xfrm>
          <a:off x="2144196" y="355091"/>
          <a:ext cx="1946002" cy="1167601"/>
        </a:xfrm>
        <a:prstGeom prst="rect">
          <a:avLst/>
        </a:prstGeom>
        <a:gradFill rotWithShape="0">
          <a:gsLst>
            <a:gs pos="0">
              <a:schemeClr val="accent5">
                <a:hueOff val="-1053"/>
                <a:satOff val="0"/>
                <a:lumOff val="-1095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1053"/>
                <a:satOff val="0"/>
                <a:lumOff val="-1095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1053"/>
                <a:satOff val="0"/>
                <a:lumOff val="-1095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0" i="0" kern="1200"/>
            <a:t>Scientific</a:t>
          </a:r>
          <a:endParaRPr lang="en-US" sz="2000" kern="1200"/>
        </a:p>
      </dsp:txBody>
      <dsp:txXfrm>
        <a:off x="2144196" y="355091"/>
        <a:ext cx="1946002" cy="1167601"/>
      </dsp:txXfrm>
    </dsp:sp>
    <dsp:sp modelId="{DD7F73C7-5612-4F87-AB77-7D75B42FBF18}">
      <dsp:nvSpPr>
        <dsp:cNvPr id="0" name=""/>
        <dsp:cNvSpPr/>
      </dsp:nvSpPr>
      <dsp:spPr>
        <a:xfrm>
          <a:off x="4284798" y="355091"/>
          <a:ext cx="1946002" cy="1167601"/>
        </a:xfrm>
        <a:prstGeom prst="rect">
          <a:avLst/>
        </a:prstGeom>
        <a:gradFill rotWithShape="0">
          <a:gsLst>
            <a:gs pos="0">
              <a:schemeClr val="accent5">
                <a:hueOff val="-2107"/>
                <a:satOff val="0"/>
                <a:lumOff val="-2189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2107"/>
                <a:satOff val="0"/>
                <a:lumOff val="-2189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2107"/>
                <a:satOff val="0"/>
                <a:lumOff val="-2189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0" i="0" kern="1200"/>
            <a:t>Technical</a:t>
          </a:r>
          <a:endParaRPr lang="en-US" sz="2000" kern="1200"/>
        </a:p>
      </dsp:txBody>
      <dsp:txXfrm>
        <a:off x="4284798" y="355091"/>
        <a:ext cx="1946002" cy="1167601"/>
      </dsp:txXfrm>
    </dsp:sp>
    <dsp:sp modelId="{6768D424-C474-4AB8-B676-90D93D858CBA}">
      <dsp:nvSpPr>
        <dsp:cNvPr id="0" name=""/>
        <dsp:cNvSpPr/>
      </dsp:nvSpPr>
      <dsp:spPr>
        <a:xfrm>
          <a:off x="6425401" y="355091"/>
          <a:ext cx="1946002" cy="1167601"/>
        </a:xfrm>
        <a:prstGeom prst="rect">
          <a:avLst/>
        </a:prstGeom>
        <a:gradFill rotWithShape="0">
          <a:gsLst>
            <a:gs pos="0">
              <a:schemeClr val="accent5">
                <a:hueOff val="-3160"/>
                <a:satOff val="0"/>
                <a:lumOff val="-3284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3160"/>
                <a:satOff val="0"/>
                <a:lumOff val="-3284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3160"/>
                <a:satOff val="0"/>
                <a:lumOff val="-3284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0" i="0" kern="1200"/>
            <a:t>Quality</a:t>
          </a:r>
          <a:endParaRPr lang="en-US" sz="2000" kern="1200"/>
        </a:p>
      </dsp:txBody>
      <dsp:txXfrm>
        <a:off x="6425401" y="355091"/>
        <a:ext cx="1946002" cy="1167601"/>
      </dsp:txXfrm>
    </dsp:sp>
    <dsp:sp modelId="{395BE085-F473-4002-818D-1D01BEE4ADC0}">
      <dsp:nvSpPr>
        <dsp:cNvPr id="0" name=""/>
        <dsp:cNvSpPr/>
      </dsp:nvSpPr>
      <dsp:spPr>
        <a:xfrm>
          <a:off x="8566003" y="355091"/>
          <a:ext cx="1946002" cy="1167601"/>
        </a:xfrm>
        <a:prstGeom prst="rect">
          <a:avLst/>
        </a:prstGeom>
        <a:gradFill rotWithShape="0">
          <a:gsLst>
            <a:gs pos="0">
              <a:schemeClr val="accent5">
                <a:hueOff val="-4214"/>
                <a:satOff val="0"/>
                <a:lumOff val="-4379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4214"/>
                <a:satOff val="0"/>
                <a:lumOff val="-4379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4214"/>
                <a:satOff val="0"/>
                <a:lumOff val="-4379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0" i="0" kern="1200"/>
            <a:t>Construction</a:t>
          </a:r>
          <a:endParaRPr lang="en-US" sz="2000" kern="1200"/>
        </a:p>
      </dsp:txBody>
      <dsp:txXfrm>
        <a:off x="8566003" y="355091"/>
        <a:ext cx="1946002" cy="1167601"/>
      </dsp:txXfrm>
    </dsp:sp>
    <dsp:sp modelId="{26CB900D-91E1-4613-A6DD-CBC38E0865E9}">
      <dsp:nvSpPr>
        <dsp:cNvPr id="0" name=""/>
        <dsp:cNvSpPr/>
      </dsp:nvSpPr>
      <dsp:spPr>
        <a:xfrm>
          <a:off x="3594" y="1717293"/>
          <a:ext cx="1946002" cy="1167601"/>
        </a:xfrm>
        <a:prstGeom prst="rect">
          <a:avLst/>
        </a:prstGeom>
        <a:gradFill rotWithShape="0">
          <a:gsLst>
            <a:gs pos="0">
              <a:schemeClr val="accent5">
                <a:hueOff val="-5267"/>
                <a:satOff val="0"/>
                <a:lumOff val="-5474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5267"/>
                <a:satOff val="0"/>
                <a:lumOff val="-5474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5267"/>
                <a:satOff val="0"/>
                <a:lumOff val="-5474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0" i="0" kern="1200"/>
            <a:t>Commissioning</a:t>
          </a:r>
          <a:endParaRPr lang="en-US" sz="2000" kern="1200"/>
        </a:p>
      </dsp:txBody>
      <dsp:txXfrm>
        <a:off x="3594" y="1717293"/>
        <a:ext cx="1946002" cy="1167601"/>
      </dsp:txXfrm>
    </dsp:sp>
    <dsp:sp modelId="{70F45BE7-A148-4577-B2C8-A2C1F5F8D125}">
      <dsp:nvSpPr>
        <dsp:cNvPr id="0" name=""/>
        <dsp:cNvSpPr/>
      </dsp:nvSpPr>
      <dsp:spPr>
        <a:xfrm>
          <a:off x="2144196" y="1717293"/>
          <a:ext cx="1946002" cy="1167601"/>
        </a:xfrm>
        <a:prstGeom prst="rect">
          <a:avLst/>
        </a:prstGeom>
        <a:gradFill rotWithShape="0">
          <a:gsLst>
            <a:gs pos="0">
              <a:schemeClr val="accent5">
                <a:hueOff val="-6321"/>
                <a:satOff val="0"/>
                <a:lumOff val="-6568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6321"/>
                <a:satOff val="0"/>
                <a:lumOff val="-6568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6321"/>
                <a:satOff val="0"/>
                <a:lumOff val="-6568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0" i="0" kern="1200" dirty="0"/>
            <a:t>Civil Asset Management</a:t>
          </a:r>
          <a:endParaRPr lang="en-US" sz="2000" kern="1200" dirty="0"/>
        </a:p>
      </dsp:txBody>
      <dsp:txXfrm>
        <a:off x="2144196" y="1717293"/>
        <a:ext cx="1946002" cy="1167601"/>
      </dsp:txXfrm>
    </dsp:sp>
    <dsp:sp modelId="{513927A5-2D5C-4D73-976A-3B0BFE3FFA22}">
      <dsp:nvSpPr>
        <dsp:cNvPr id="0" name=""/>
        <dsp:cNvSpPr/>
      </dsp:nvSpPr>
      <dsp:spPr>
        <a:xfrm>
          <a:off x="4284798" y="1717293"/>
          <a:ext cx="1946002" cy="1167601"/>
        </a:xfrm>
        <a:prstGeom prst="rect">
          <a:avLst/>
        </a:prstGeom>
        <a:gradFill rotWithShape="0">
          <a:gsLst>
            <a:gs pos="0">
              <a:schemeClr val="accent5">
                <a:hueOff val="-7374"/>
                <a:satOff val="0"/>
                <a:lumOff val="-7663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7374"/>
                <a:satOff val="0"/>
                <a:lumOff val="-7663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7374"/>
                <a:satOff val="0"/>
                <a:lumOff val="-7663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0" i="0" kern="1200"/>
            <a:t>Project Management</a:t>
          </a:r>
          <a:endParaRPr lang="en-US" sz="2000" kern="1200"/>
        </a:p>
      </dsp:txBody>
      <dsp:txXfrm>
        <a:off x="4284798" y="1717293"/>
        <a:ext cx="1946002" cy="1167601"/>
      </dsp:txXfrm>
    </dsp:sp>
    <dsp:sp modelId="{0E4C2690-424C-4930-B89B-BFE71F1997FE}">
      <dsp:nvSpPr>
        <dsp:cNvPr id="0" name=""/>
        <dsp:cNvSpPr/>
      </dsp:nvSpPr>
      <dsp:spPr>
        <a:xfrm>
          <a:off x="6425401" y="1717293"/>
          <a:ext cx="1946002" cy="1167601"/>
        </a:xfrm>
        <a:prstGeom prst="rect">
          <a:avLst/>
        </a:prstGeom>
        <a:gradFill rotWithShape="0">
          <a:gsLst>
            <a:gs pos="0">
              <a:schemeClr val="accent5">
                <a:hueOff val="-8428"/>
                <a:satOff val="0"/>
                <a:lumOff val="-8758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8428"/>
                <a:satOff val="0"/>
                <a:lumOff val="-8758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8428"/>
                <a:satOff val="0"/>
                <a:lumOff val="-8758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0" i="0" kern="1200"/>
            <a:t>Operations</a:t>
          </a:r>
          <a:endParaRPr lang="en-US" sz="2000" kern="1200"/>
        </a:p>
      </dsp:txBody>
      <dsp:txXfrm>
        <a:off x="6425401" y="1717293"/>
        <a:ext cx="1946002" cy="1167601"/>
      </dsp:txXfrm>
    </dsp:sp>
    <dsp:sp modelId="{D8195489-364B-4DC5-9674-44352B7DDF7D}">
      <dsp:nvSpPr>
        <dsp:cNvPr id="0" name=""/>
        <dsp:cNvSpPr/>
      </dsp:nvSpPr>
      <dsp:spPr>
        <a:xfrm>
          <a:off x="8566003" y="1717293"/>
          <a:ext cx="1946002" cy="1167601"/>
        </a:xfrm>
        <a:prstGeom prst="rect">
          <a:avLst/>
        </a:prstGeom>
        <a:gradFill rotWithShape="0">
          <a:gsLst>
            <a:gs pos="0">
              <a:schemeClr val="accent5">
                <a:hueOff val="-9481"/>
                <a:satOff val="0"/>
                <a:lumOff val="-9853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9481"/>
                <a:satOff val="0"/>
                <a:lumOff val="-9853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9481"/>
                <a:satOff val="0"/>
                <a:lumOff val="-9853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0" i="0" kern="1200" dirty="0"/>
            <a:t>Plant Engineering</a:t>
          </a:r>
          <a:endParaRPr lang="en-US" sz="2000" kern="1200" dirty="0"/>
        </a:p>
      </dsp:txBody>
      <dsp:txXfrm>
        <a:off x="8566003" y="1717293"/>
        <a:ext cx="1946002" cy="1167601"/>
      </dsp:txXfrm>
    </dsp:sp>
    <dsp:sp modelId="{9083F1B6-5A0B-4BDA-9AA2-3A2F2DCC1E11}">
      <dsp:nvSpPr>
        <dsp:cNvPr id="0" name=""/>
        <dsp:cNvSpPr/>
      </dsp:nvSpPr>
      <dsp:spPr>
        <a:xfrm>
          <a:off x="2144196" y="3079494"/>
          <a:ext cx="1946002" cy="1167601"/>
        </a:xfrm>
        <a:prstGeom prst="rect">
          <a:avLst/>
        </a:prstGeom>
        <a:gradFill rotWithShape="0">
          <a:gsLst>
            <a:gs pos="0">
              <a:schemeClr val="accent5">
                <a:hueOff val="-10535"/>
                <a:satOff val="0"/>
                <a:lumOff val="-10947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10535"/>
                <a:satOff val="0"/>
                <a:lumOff val="-10947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10535"/>
                <a:satOff val="0"/>
                <a:lumOff val="-10947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0" i="0" kern="1200"/>
            <a:t>Control Systems</a:t>
          </a:r>
          <a:endParaRPr lang="en-US" sz="2000" kern="1200"/>
        </a:p>
      </dsp:txBody>
      <dsp:txXfrm>
        <a:off x="2144196" y="3079494"/>
        <a:ext cx="1946002" cy="1167601"/>
      </dsp:txXfrm>
    </dsp:sp>
    <dsp:sp modelId="{ACBC029B-8330-41F1-A55D-E94E7247CFC8}">
      <dsp:nvSpPr>
        <dsp:cNvPr id="0" name=""/>
        <dsp:cNvSpPr/>
      </dsp:nvSpPr>
      <dsp:spPr>
        <a:xfrm>
          <a:off x="4284798" y="3079494"/>
          <a:ext cx="1946002" cy="1167601"/>
        </a:xfrm>
        <a:prstGeom prst="rect">
          <a:avLst/>
        </a:prstGeom>
        <a:gradFill rotWithShape="0">
          <a:gsLst>
            <a:gs pos="0">
              <a:schemeClr val="accent5">
                <a:hueOff val="-11588"/>
                <a:satOff val="0"/>
                <a:lumOff val="-12042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11588"/>
                <a:satOff val="0"/>
                <a:lumOff val="-12042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11588"/>
                <a:satOff val="0"/>
                <a:lumOff val="-12042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0" i="0" kern="1200" dirty="0"/>
            <a:t>Safety Case</a:t>
          </a:r>
          <a:endParaRPr lang="en-US" sz="2000" kern="1200" dirty="0"/>
        </a:p>
      </dsp:txBody>
      <dsp:txXfrm>
        <a:off x="4284798" y="3079494"/>
        <a:ext cx="1946002" cy="1167601"/>
      </dsp:txXfrm>
    </dsp:sp>
    <dsp:sp modelId="{0F8D621F-4C01-4970-AD08-74700E260163}">
      <dsp:nvSpPr>
        <dsp:cNvPr id="0" name=""/>
        <dsp:cNvSpPr/>
      </dsp:nvSpPr>
      <dsp:spPr>
        <a:xfrm>
          <a:off x="6425401" y="3079494"/>
          <a:ext cx="1946002" cy="1167601"/>
        </a:xfrm>
        <a:prstGeom prst="rect">
          <a:avLst/>
        </a:prstGeom>
        <a:gradFill rotWithShape="0">
          <a:gsLst>
            <a:gs pos="0">
              <a:schemeClr val="accent5">
                <a:hueOff val="-12642"/>
                <a:satOff val="0"/>
                <a:lumOff val="-13137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12642"/>
                <a:satOff val="0"/>
                <a:lumOff val="-13137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12642"/>
                <a:satOff val="0"/>
                <a:lumOff val="-13137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Engineering Design</a:t>
          </a:r>
        </a:p>
      </dsp:txBody>
      <dsp:txXfrm>
        <a:off x="6425401" y="3079494"/>
        <a:ext cx="1946002" cy="1167601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F08D081-DA45-4274-9D6B-55C36821DD5D}">
      <dsp:nvSpPr>
        <dsp:cNvPr id="0" name=""/>
        <dsp:cNvSpPr/>
      </dsp:nvSpPr>
      <dsp:spPr>
        <a:xfrm>
          <a:off x="73293" y="287099"/>
          <a:ext cx="1505700" cy="1505700"/>
        </a:xfrm>
        <a:prstGeom prst="ellipse">
          <a:avLst/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1B59F49-964C-4827-B2AF-570A959DFE29}">
      <dsp:nvSpPr>
        <dsp:cNvPr id="0" name=""/>
        <dsp:cNvSpPr/>
      </dsp:nvSpPr>
      <dsp:spPr>
        <a:xfrm>
          <a:off x="389490" y="603296"/>
          <a:ext cx="873306" cy="873306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780A029-5746-48AB-BA35-1CE219314304}">
      <dsp:nvSpPr>
        <dsp:cNvPr id="0" name=""/>
        <dsp:cNvSpPr/>
      </dsp:nvSpPr>
      <dsp:spPr>
        <a:xfrm>
          <a:off x="1901643" y="287099"/>
          <a:ext cx="3549150" cy="15057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kern="1200"/>
            <a:t>All Degree apprentices will complete a bridging course (currently 17 weeks) delivered at one of our local training providers which you need to pass to pass your probation. </a:t>
          </a:r>
          <a:endParaRPr lang="en-US" sz="1300" kern="1200"/>
        </a:p>
      </dsp:txBody>
      <dsp:txXfrm>
        <a:off x="1901643" y="287099"/>
        <a:ext cx="3549150" cy="1505700"/>
      </dsp:txXfrm>
    </dsp:sp>
    <dsp:sp modelId="{DF90CAC1-DC10-4131-92C0-4FFCBE02E7AC}">
      <dsp:nvSpPr>
        <dsp:cNvPr id="0" name=""/>
        <dsp:cNvSpPr/>
      </dsp:nvSpPr>
      <dsp:spPr>
        <a:xfrm>
          <a:off x="6069206" y="287099"/>
          <a:ext cx="1505700" cy="1505700"/>
        </a:xfrm>
        <a:prstGeom prst="ellipse">
          <a:avLst/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597A7AF-38B5-462A-8FBC-068DDB6A5FD6}">
      <dsp:nvSpPr>
        <dsp:cNvPr id="0" name=""/>
        <dsp:cNvSpPr/>
      </dsp:nvSpPr>
      <dsp:spPr>
        <a:xfrm>
          <a:off x="6385403" y="603296"/>
          <a:ext cx="873306" cy="87330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7F137B9-77EC-49FD-B8EB-3ABFFDA74524}">
      <dsp:nvSpPr>
        <dsp:cNvPr id="0" name=""/>
        <dsp:cNvSpPr/>
      </dsp:nvSpPr>
      <dsp:spPr>
        <a:xfrm>
          <a:off x="7897556" y="287099"/>
          <a:ext cx="3549150" cy="15057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kern="1200"/>
            <a:t>Apprentices will then be based full time in the workplace and continue academic studies on a day release basis at one of our local training providers.</a:t>
          </a:r>
          <a:endParaRPr lang="en-US" sz="1300" kern="1200"/>
        </a:p>
      </dsp:txBody>
      <dsp:txXfrm>
        <a:off x="7897556" y="287099"/>
        <a:ext cx="3549150" cy="1505700"/>
      </dsp:txXfrm>
    </dsp:sp>
    <dsp:sp modelId="{16BFEB42-5A4A-4D33-86CB-19C5D58E73C8}">
      <dsp:nvSpPr>
        <dsp:cNvPr id="0" name=""/>
        <dsp:cNvSpPr/>
      </dsp:nvSpPr>
      <dsp:spPr>
        <a:xfrm>
          <a:off x="73293" y="2527200"/>
          <a:ext cx="1505700" cy="1505700"/>
        </a:xfrm>
        <a:prstGeom prst="ellipse">
          <a:avLst/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69ECDD6-45FD-465B-A56A-20C26910CFEE}">
      <dsp:nvSpPr>
        <dsp:cNvPr id="0" name=""/>
        <dsp:cNvSpPr/>
      </dsp:nvSpPr>
      <dsp:spPr>
        <a:xfrm>
          <a:off x="389490" y="2843397"/>
          <a:ext cx="873306" cy="873306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3BB5EB7-9840-444C-A019-C0A412114A03}">
      <dsp:nvSpPr>
        <dsp:cNvPr id="0" name=""/>
        <dsp:cNvSpPr/>
      </dsp:nvSpPr>
      <dsp:spPr>
        <a:xfrm>
          <a:off x="1901643" y="2527200"/>
          <a:ext cx="3549150" cy="15057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b="1" kern="1200" dirty="0"/>
            <a:t>Phase 1 – initial 3-year period:</a:t>
          </a:r>
          <a:br>
            <a:rPr lang="en-GB" sz="1300" kern="1200" dirty="0"/>
          </a:br>
          <a:r>
            <a:rPr lang="en-GB" sz="1300" kern="1200" dirty="0"/>
            <a:t>• Nuclear Technician Apprenticeship Standard (Level 5);</a:t>
          </a:r>
          <a:br>
            <a:rPr lang="en-GB" sz="1300" kern="1200" dirty="0"/>
          </a:br>
          <a:r>
            <a:rPr lang="en-GB" sz="1300" kern="1200" dirty="0"/>
            <a:t>• Foundation Degree/HND (Level 5) in either a science or engineering-based discipline</a:t>
          </a:r>
          <a:endParaRPr lang="en-US" sz="1300" kern="1200" dirty="0"/>
        </a:p>
      </dsp:txBody>
      <dsp:txXfrm>
        <a:off x="1901643" y="2527200"/>
        <a:ext cx="3549150" cy="1505700"/>
      </dsp:txXfrm>
    </dsp:sp>
    <dsp:sp modelId="{508808F2-BB08-4442-A238-71A1217353F3}">
      <dsp:nvSpPr>
        <dsp:cNvPr id="0" name=""/>
        <dsp:cNvSpPr/>
      </dsp:nvSpPr>
      <dsp:spPr>
        <a:xfrm>
          <a:off x="6069206" y="2527200"/>
          <a:ext cx="1505700" cy="1505700"/>
        </a:xfrm>
        <a:prstGeom prst="ellipse">
          <a:avLst/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0A45C14-0CAC-422D-8CE3-230DDFD2234A}">
      <dsp:nvSpPr>
        <dsp:cNvPr id="0" name=""/>
        <dsp:cNvSpPr/>
      </dsp:nvSpPr>
      <dsp:spPr>
        <a:xfrm>
          <a:off x="6385403" y="2843397"/>
          <a:ext cx="873306" cy="873306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5831C14-F518-43B9-B41C-81593E3E9599}">
      <dsp:nvSpPr>
        <dsp:cNvPr id="0" name=""/>
        <dsp:cNvSpPr/>
      </dsp:nvSpPr>
      <dsp:spPr>
        <a:xfrm>
          <a:off x="7897556" y="2527200"/>
          <a:ext cx="3549150" cy="15057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b="1" kern="1200"/>
            <a:t>For candidates with the ability to progress further:</a:t>
          </a:r>
          <a:br>
            <a:rPr lang="en-GB" sz="1300" kern="1200"/>
          </a:br>
          <a:r>
            <a:rPr lang="en-GB" sz="1300" kern="1200"/>
            <a:t>Phase 2 – further 2 year period:</a:t>
          </a:r>
          <a:br>
            <a:rPr lang="en-GB" sz="1300" kern="1200"/>
          </a:br>
          <a:r>
            <a:rPr lang="en-GB" sz="1300" kern="1200"/>
            <a:t>• Nuclear Scientist and Engineer Integrated Degree Apprentice Standard (Level 6);</a:t>
          </a:r>
          <a:br>
            <a:rPr lang="en-GB" sz="1300" kern="1200"/>
          </a:br>
          <a:r>
            <a:rPr lang="en-GB" sz="1300" kern="1200"/>
            <a:t>• Bachelor’s Degree in Engineering (BEng – Level 6) or a Bachelor’s Degree in Science (BSc – Level 6) aligned to your career pathway</a:t>
          </a:r>
          <a:endParaRPr lang="en-US" sz="1300" kern="1200"/>
        </a:p>
      </dsp:txBody>
      <dsp:txXfrm>
        <a:off x="7897556" y="2527200"/>
        <a:ext cx="3549150" cy="150570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666A395-DA23-4B7A-B06E-F3EB6447F9A5}">
      <dsp:nvSpPr>
        <dsp:cNvPr id="0" name=""/>
        <dsp:cNvSpPr/>
      </dsp:nvSpPr>
      <dsp:spPr>
        <a:xfrm>
          <a:off x="418980" y="1397"/>
          <a:ext cx="3024261" cy="181455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0" i="0" kern="1200" dirty="0"/>
            <a:t>Minimum of 5 GCSEs at Grades 9 to 4 (Grades A* to C) including Mathematics, English Language and one Science or Engineering subject.</a:t>
          </a:r>
          <a:endParaRPr lang="en-US" sz="1800" kern="1200" dirty="0"/>
        </a:p>
      </dsp:txBody>
      <dsp:txXfrm>
        <a:off x="418980" y="1397"/>
        <a:ext cx="3024261" cy="1814557"/>
      </dsp:txXfrm>
    </dsp:sp>
    <dsp:sp modelId="{76635776-2677-4368-8350-724793F249C3}">
      <dsp:nvSpPr>
        <dsp:cNvPr id="0" name=""/>
        <dsp:cNvSpPr/>
      </dsp:nvSpPr>
      <dsp:spPr>
        <a:xfrm>
          <a:off x="3745669" y="1397"/>
          <a:ext cx="3024261" cy="181455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0" i="0" kern="1200"/>
            <a:t>Minimum of 96 UCAS points at A-Level, STEM subjects preferred (e.g. Mathematics, Chemistry, Biology, Physics or Science) but not mandatory.</a:t>
          </a:r>
          <a:endParaRPr lang="en-US" sz="1800" kern="1200"/>
        </a:p>
      </dsp:txBody>
      <dsp:txXfrm>
        <a:off x="3745669" y="1397"/>
        <a:ext cx="3024261" cy="1814557"/>
      </dsp:txXfrm>
    </dsp:sp>
    <dsp:sp modelId="{0FBA5C06-464D-4F10-B8FB-3A12544819BB}">
      <dsp:nvSpPr>
        <dsp:cNvPr id="0" name=""/>
        <dsp:cNvSpPr/>
      </dsp:nvSpPr>
      <dsp:spPr>
        <a:xfrm>
          <a:off x="7072357" y="1397"/>
          <a:ext cx="3024261" cy="181455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0" i="0" kern="1200"/>
            <a:t>Other Level 3 STEM qualifications may be considered.</a:t>
          </a:r>
          <a:endParaRPr lang="en-US" sz="1800" kern="1200"/>
        </a:p>
      </dsp:txBody>
      <dsp:txXfrm>
        <a:off x="7072357" y="1397"/>
        <a:ext cx="3024261" cy="1814557"/>
      </dsp:txXfrm>
    </dsp:sp>
    <dsp:sp modelId="{6E278494-AC07-4D42-B53B-55360F417FC9}">
      <dsp:nvSpPr>
        <dsp:cNvPr id="0" name=""/>
        <dsp:cNvSpPr/>
      </dsp:nvSpPr>
      <dsp:spPr>
        <a:xfrm>
          <a:off x="2082324" y="2118381"/>
          <a:ext cx="3024261" cy="181455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0" i="0" kern="1200"/>
            <a:t>Vocational equivalents at level 3 or higher will also be considered as equivalent to UCAS points.</a:t>
          </a:r>
          <a:endParaRPr lang="en-US" sz="1800" kern="1200"/>
        </a:p>
      </dsp:txBody>
      <dsp:txXfrm>
        <a:off x="2082324" y="2118381"/>
        <a:ext cx="3024261" cy="1814557"/>
      </dsp:txXfrm>
    </dsp:sp>
    <dsp:sp modelId="{DA22F3FB-32F3-46A2-AD9A-AB0E5E11A405}">
      <dsp:nvSpPr>
        <dsp:cNvPr id="0" name=""/>
        <dsp:cNvSpPr/>
      </dsp:nvSpPr>
      <dsp:spPr>
        <a:xfrm>
          <a:off x="5409013" y="2118381"/>
          <a:ext cx="3024261" cy="181455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0" i="0" kern="1200" dirty="0"/>
            <a:t>If you do not have Mathematics at A Level then you must achieve a minimum of Grade 6 (Grade B) at GCSE (*not for Project Management).</a:t>
          </a:r>
          <a:endParaRPr lang="en-US" sz="1800" kern="1200" dirty="0"/>
        </a:p>
      </dsp:txBody>
      <dsp:txXfrm>
        <a:off x="5409013" y="2118381"/>
        <a:ext cx="3024261" cy="1814557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771E6D4-7956-402D-9DEF-5FA20D5E6D9B}">
      <dsp:nvSpPr>
        <dsp:cNvPr id="0" name=""/>
        <dsp:cNvSpPr/>
      </dsp:nvSpPr>
      <dsp:spPr>
        <a:xfrm>
          <a:off x="2455804" y="1095325"/>
          <a:ext cx="534121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34121" y="45720"/>
              </a:lnTo>
            </a:path>
          </a:pathLst>
        </a:custGeom>
        <a:noFill/>
        <a:ln w="63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708747" y="1138221"/>
        <a:ext cx="28236" cy="5647"/>
      </dsp:txXfrm>
    </dsp:sp>
    <dsp:sp modelId="{5776AA77-A511-43A6-B3F0-B555A9E7D35E}">
      <dsp:nvSpPr>
        <dsp:cNvPr id="0" name=""/>
        <dsp:cNvSpPr/>
      </dsp:nvSpPr>
      <dsp:spPr>
        <a:xfrm>
          <a:off x="2292" y="404451"/>
          <a:ext cx="2455312" cy="1473187"/>
        </a:xfrm>
        <a:prstGeom prst="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0312" tIns="126289" rIns="120312" bIns="126289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0" i="0" kern="1200" dirty="0"/>
            <a:t>Applications through SL careers website </a:t>
          </a:r>
          <a:endParaRPr lang="en-US" sz="1800" kern="1200" dirty="0"/>
        </a:p>
      </dsp:txBody>
      <dsp:txXfrm>
        <a:off x="2292" y="404451"/>
        <a:ext cx="2455312" cy="1473187"/>
      </dsp:txXfrm>
    </dsp:sp>
    <dsp:sp modelId="{90A34DB6-E86F-4F2A-B82C-321236BC9728}">
      <dsp:nvSpPr>
        <dsp:cNvPr id="0" name=""/>
        <dsp:cNvSpPr/>
      </dsp:nvSpPr>
      <dsp:spPr>
        <a:xfrm>
          <a:off x="5475839" y="1095325"/>
          <a:ext cx="534121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34121" y="45720"/>
              </a:lnTo>
            </a:path>
          </a:pathLst>
        </a:custGeom>
        <a:noFill/>
        <a:ln w="6350" cap="flat" cmpd="sng" algn="ctr">
          <a:solidFill>
            <a:schemeClr val="accent5">
              <a:hueOff val="-2107"/>
              <a:satOff val="0"/>
              <a:lumOff val="-2189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728781" y="1138221"/>
        <a:ext cx="28236" cy="5647"/>
      </dsp:txXfrm>
    </dsp:sp>
    <dsp:sp modelId="{CD7610E3-70FE-439D-91C2-AEF2BDCFDDF1}">
      <dsp:nvSpPr>
        <dsp:cNvPr id="0" name=""/>
        <dsp:cNvSpPr/>
      </dsp:nvSpPr>
      <dsp:spPr>
        <a:xfrm>
          <a:off x="3022326" y="404451"/>
          <a:ext cx="2455312" cy="1473187"/>
        </a:xfrm>
        <a:prstGeom prst="rect">
          <a:avLst/>
        </a:prstGeom>
        <a:gradFill rotWithShape="0">
          <a:gsLst>
            <a:gs pos="0">
              <a:schemeClr val="accent5">
                <a:hueOff val="-1806"/>
                <a:satOff val="0"/>
                <a:lumOff val="-1877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1806"/>
                <a:satOff val="0"/>
                <a:lumOff val="-1877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1806"/>
                <a:satOff val="0"/>
                <a:lumOff val="-1877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0312" tIns="126289" rIns="120312" bIns="126289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0" i="0" kern="1200" dirty="0"/>
            <a:t>Application Review</a:t>
          </a:r>
          <a:endParaRPr lang="en-US" sz="1800" kern="1200" dirty="0"/>
        </a:p>
      </dsp:txBody>
      <dsp:txXfrm>
        <a:off x="3022326" y="404451"/>
        <a:ext cx="2455312" cy="1473187"/>
      </dsp:txXfrm>
    </dsp:sp>
    <dsp:sp modelId="{26716DCA-C7A2-4E8D-B1A3-77063674D2DB}">
      <dsp:nvSpPr>
        <dsp:cNvPr id="0" name=""/>
        <dsp:cNvSpPr/>
      </dsp:nvSpPr>
      <dsp:spPr>
        <a:xfrm>
          <a:off x="8495873" y="1095325"/>
          <a:ext cx="534121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34121" y="45720"/>
              </a:lnTo>
            </a:path>
          </a:pathLst>
        </a:custGeom>
        <a:noFill/>
        <a:ln w="6350" cap="flat" cmpd="sng" algn="ctr">
          <a:solidFill>
            <a:schemeClr val="accent5">
              <a:hueOff val="-4214"/>
              <a:satOff val="0"/>
              <a:lumOff val="-4379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8748816" y="1138221"/>
        <a:ext cx="28236" cy="5647"/>
      </dsp:txXfrm>
    </dsp:sp>
    <dsp:sp modelId="{3CC1DF64-0076-4E3F-B4D6-CC013D85A8DA}">
      <dsp:nvSpPr>
        <dsp:cNvPr id="0" name=""/>
        <dsp:cNvSpPr/>
      </dsp:nvSpPr>
      <dsp:spPr>
        <a:xfrm>
          <a:off x="6042360" y="404451"/>
          <a:ext cx="2455312" cy="1473187"/>
        </a:xfrm>
        <a:prstGeom prst="rect">
          <a:avLst/>
        </a:prstGeom>
        <a:gradFill rotWithShape="0">
          <a:gsLst>
            <a:gs pos="0">
              <a:schemeClr val="accent5">
                <a:hueOff val="-3612"/>
                <a:satOff val="0"/>
                <a:lumOff val="-3753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3612"/>
                <a:satOff val="0"/>
                <a:lumOff val="-3753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3612"/>
                <a:satOff val="0"/>
                <a:lumOff val="-3753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0312" tIns="126289" rIns="120312" bIns="126289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0" i="0" kern="1200" dirty="0"/>
            <a:t>Online Values &amp; Strengths based situational judgement assessment </a:t>
          </a:r>
          <a:endParaRPr lang="en-US" sz="1800" kern="1200" dirty="0"/>
        </a:p>
      </dsp:txBody>
      <dsp:txXfrm>
        <a:off x="6042360" y="404451"/>
        <a:ext cx="2455312" cy="1473187"/>
      </dsp:txXfrm>
    </dsp:sp>
    <dsp:sp modelId="{B5C669FF-1AC9-4976-B77C-4169FA392128}">
      <dsp:nvSpPr>
        <dsp:cNvPr id="0" name=""/>
        <dsp:cNvSpPr/>
      </dsp:nvSpPr>
      <dsp:spPr>
        <a:xfrm>
          <a:off x="1229948" y="1875839"/>
          <a:ext cx="9060103" cy="534121"/>
        </a:xfrm>
        <a:custGeom>
          <a:avLst/>
          <a:gdLst/>
          <a:ahLst/>
          <a:cxnLst/>
          <a:rect l="0" t="0" r="0" b="0"/>
          <a:pathLst>
            <a:path>
              <a:moveTo>
                <a:pt x="9060103" y="0"/>
              </a:moveTo>
              <a:lnTo>
                <a:pt x="9060103" y="284160"/>
              </a:lnTo>
              <a:lnTo>
                <a:pt x="0" y="284160"/>
              </a:lnTo>
              <a:lnTo>
                <a:pt x="0" y="534121"/>
              </a:lnTo>
            </a:path>
          </a:pathLst>
        </a:custGeom>
        <a:noFill/>
        <a:ln w="6350" cap="flat" cmpd="sng" algn="ctr">
          <a:solidFill>
            <a:schemeClr val="accent5">
              <a:hueOff val="-6321"/>
              <a:satOff val="0"/>
              <a:lumOff val="-6568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533057" y="2140076"/>
        <a:ext cx="453884" cy="5647"/>
      </dsp:txXfrm>
    </dsp:sp>
    <dsp:sp modelId="{2460DC87-D38D-4AA1-8DBF-1BA330D34D43}">
      <dsp:nvSpPr>
        <dsp:cNvPr id="0" name=""/>
        <dsp:cNvSpPr/>
      </dsp:nvSpPr>
      <dsp:spPr>
        <a:xfrm>
          <a:off x="9062395" y="404451"/>
          <a:ext cx="2455312" cy="1473187"/>
        </a:xfrm>
        <a:prstGeom prst="rect">
          <a:avLst/>
        </a:prstGeom>
        <a:gradFill rotWithShape="0">
          <a:gsLst>
            <a:gs pos="0">
              <a:schemeClr val="accent5">
                <a:hueOff val="-5418"/>
                <a:satOff val="0"/>
                <a:lumOff val="-563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5418"/>
                <a:satOff val="0"/>
                <a:lumOff val="-563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5418"/>
                <a:satOff val="0"/>
                <a:lumOff val="-563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0312" tIns="126289" rIns="120312" bIns="126289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0" i="0" kern="1200" dirty="0"/>
            <a:t>Interviews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0" i="1" kern="1200" dirty="0"/>
            <a:t>March 2024 </a:t>
          </a:r>
          <a:endParaRPr lang="en-US" sz="1800" i="1" kern="1200" dirty="0"/>
        </a:p>
      </dsp:txBody>
      <dsp:txXfrm>
        <a:off x="9062395" y="404451"/>
        <a:ext cx="2455312" cy="1473187"/>
      </dsp:txXfrm>
    </dsp:sp>
    <dsp:sp modelId="{48364587-DE63-4D17-B03E-32B9EACBA548}">
      <dsp:nvSpPr>
        <dsp:cNvPr id="0" name=""/>
        <dsp:cNvSpPr/>
      </dsp:nvSpPr>
      <dsp:spPr>
        <a:xfrm>
          <a:off x="2455804" y="3133234"/>
          <a:ext cx="534121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34121" y="45720"/>
              </a:lnTo>
            </a:path>
          </a:pathLst>
        </a:custGeom>
        <a:noFill/>
        <a:ln w="6350" cap="flat" cmpd="sng" algn="ctr">
          <a:solidFill>
            <a:schemeClr val="accent5">
              <a:hueOff val="-8428"/>
              <a:satOff val="0"/>
              <a:lumOff val="-8758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708747" y="3176131"/>
        <a:ext cx="28236" cy="5647"/>
      </dsp:txXfrm>
    </dsp:sp>
    <dsp:sp modelId="{1285E224-DE2F-4280-BB7F-B4B062B78354}">
      <dsp:nvSpPr>
        <dsp:cNvPr id="0" name=""/>
        <dsp:cNvSpPr/>
      </dsp:nvSpPr>
      <dsp:spPr>
        <a:xfrm>
          <a:off x="2292" y="2442360"/>
          <a:ext cx="2455312" cy="1473187"/>
        </a:xfrm>
        <a:prstGeom prst="rect">
          <a:avLst/>
        </a:prstGeom>
        <a:gradFill rotWithShape="0">
          <a:gsLst>
            <a:gs pos="0">
              <a:schemeClr val="accent5">
                <a:hueOff val="-7224"/>
                <a:satOff val="0"/>
                <a:lumOff val="-7507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7224"/>
                <a:satOff val="0"/>
                <a:lumOff val="-7507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7224"/>
                <a:satOff val="0"/>
                <a:lumOff val="-7507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0312" tIns="126289" rIns="120312" bIns="126289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0" i="0" kern="1200" dirty="0"/>
            <a:t>Final Selection </a:t>
          </a:r>
          <a:endParaRPr lang="en-US" sz="1800" kern="1200" dirty="0"/>
        </a:p>
      </dsp:txBody>
      <dsp:txXfrm>
        <a:off x="2292" y="2442360"/>
        <a:ext cx="2455312" cy="1473187"/>
      </dsp:txXfrm>
    </dsp:sp>
    <dsp:sp modelId="{A89A18DC-F474-4731-9555-D466A8C620B6}">
      <dsp:nvSpPr>
        <dsp:cNvPr id="0" name=""/>
        <dsp:cNvSpPr/>
      </dsp:nvSpPr>
      <dsp:spPr>
        <a:xfrm>
          <a:off x="5475839" y="3133234"/>
          <a:ext cx="534121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34121" y="45720"/>
              </a:lnTo>
            </a:path>
          </a:pathLst>
        </a:custGeom>
        <a:noFill/>
        <a:ln w="6350" cap="flat" cmpd="sng" algn="ctr">
          <a:solidFill>
            <a:schemeClr val="accent5">
              <a:hueOff val="-10535"/>
              <a:satOff val="0"/>
              <a:lumOff val="-10947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728781" y="3176131"/>
        <a:ext cx="28236" cy="5647"/>
      </dsp:txXfrm>
    </dsp:sp>
    <dsp:sp modelId="{E454A1E5-8A59-4D88-BDA3-1B5CB2716EB3}">
      <dsp:nvSpPr>
        <dsp:cNvPr id="0" name=""/>
        <dsp:cNvSpPr/>
      </dsp:nvSpPr>
      <dsp:spPr>
        <a:xfrm>
          <a:off x="3022326" y="2442360"/>
          <a:ext cx="2455312" cy="1473187"/>
        </a:xfrm>
        <a:prstGeom prst="rect">
          <a:avLst/>
        </a:prstGeom>
        <a:gradFill rotWithShape="0">
          <a:gsLst>
            <a:gs pos="0">
              <a:schemeClr val="accent5">
                <a:hueOff val="-9030"/>
                <a:satOff val="0"/>
                <a:lumOff val="-9384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9030"/>
                <a:satOff val="0"/>
                <a:lumOff val="-9384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9030"/>
                <a:satOff val="0"/>
                <a:lumOff val="-9384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0312" tIns="126289" rIns="120312" bIns="126289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0" i="0" kern="1200" dirty="0"/>
            <a:t>Conditional Offers </a:t>
          </a:r>
          <a:endParaRPr lang="en-US" sz="1800" kern="1200" dirty="0"/>
        </a:p>
      </dsp:txBody>
      <dsp:txXfrm>
        <a:off x="3022326" y="2442360"/>
        <a:ext cx="2455312" cy="1473187"/>
      </dsp:txXfrm>
    </dsp:sp>
    <dsp:sp modelId="{B8513C40-3828-420A-9FDE-44C9855E758A}">
      <dsp:nvSpPr>
        <dsp:cNvPr id="0" name=""/>
        <dsp:cNvSpPr/>
      </dsp:nvSpPr>
      <dsp:spPr>
        <a:xfrm>
          <a:off x="8495873" y="3133234"/>
          <a:ext cx="534121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34121" y="45720"/>
              </a:lnTo>
            </a:path>
          </a:pathLst>
        </a:custGeom>
        <a:noFill/>
        <a:ln w="6350" cap="flat" cmpd="sng" algn="ctr">
          <a:solidFill>
            <a:schemeClr val="accent5">
              <a:hueOff val="-12642"/>
              <a:satOff val="0"/>
              <a:lumOff val="-13137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8748816" y="3176131"/>
        <a:ext cx="28236" cy="5647"/>
      </dsp:txXfrm>
    </dsp:sp>
    <dsp:sp modelId="{1F6EE78F-AA56-4BAC-9422-431D3F9E3294}">
      <dsp:nvSpPr>
        <dsp:cNvPr id="0" name=""/>
        <dsp:cNvSpPr/>
      </dsp:nvSpPr>
      <dsp:spPr>
        <a:xfrm>
          <a:off x="6042360" y="2442360"/>
          <a:ext cx="2455312" cy="1473187"/>
        </a:xfrm>
        <a:prstGeom prst="rect">
          <a:avLst/>
        </a:prstGeom>
        <a:gradFill rotWithShape="0">
          <a:gsLst>
            <a:gs pos="0">
              <a:schemeClr val="accent5">
                <a:hueOff val="-10836"/>
                <a:satOff val="0"/>
                <a:lumOff val="-1126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10836"/>
                <a:satOff val="0"/>
                <a:lumOff val="-1126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10836"/>
                <a:satOff val="0"/>
                <a:lumOff val="-1126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0312" tIns="126289" rIns="120312" bIns="126289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0" i="0" kern="1200" dirty="0"/>
            <a:t>Results / confirmations / clearing </a:t>
          </a:r>
          <a:endParaRPr lang="en-US" sz="1800" kern="1200" dirty="0"/>
        </a:p>
      </dsp:txBody>
      <dsp:txXfrm>
        <a:off x="6042360" y="2442360"/>
        <a:ext cx="2455312" cy="1473187"/>
      </dsp:txXfrm>
    </dsp:sp>
    <dsp:sp modelId="{68759589-565D-4460-809D-C508F20C8183}">
      <dsp:nvSpPr>
        <dsp:cNvPr id="0" name=""/>
        <dsp:cNvSpPr/>
      </dsp:nvSpPr>
      <dsp:spPr>
        <a:xfrm>
          <a:off x="9062395" y="2442360"/>
          <a:ext cx="2455312" cy="1473187"/>
        </a:xfrm>
        <a:prstGeom prst="rect">
          <a:avLst/>
        </a:prstGeom>
        <a:gradFill rotWithShape="0">
          <a:gsLst>
            <a:gs pos="0">
              <a:schemeClr val="accent5">
                <a:hueOff val="-12642"/>
                <a:satOff val="0"/>
                <a:lumOff val="-13137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12642"/>
                <a:satOff val="0"/>
                <a:lumOff val="-13137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12642"/>
                <a:satOff val="0"/>
                <a:lumOff val="-13137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0312" tIns="126289" rIns="120312" bIns="126289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Start Date: Expected September 2024</a:t>
          </a:r>
        </a:p>
      </dsp:txBody>
      <dsp:txXfrm>
        <a:off x="9062395" y="2442360"/>
        <a:ext cx="2455312" cy="1473187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0C2B0E5-5BAA-4DA3-BEA1-5C22E4B689F5}">
      <dsp:nvSpPr>
        <dsp:cNvPr id="0" name=""/>
        <dsp:cNvSpPr/>
      </dsp:nvSpPr>
      <dsp:spPr>
        <a:xfrm>
          <a:off x="819" y="434953"/>
          <a:ext cx="3195386" cy="191723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u="none" kern="1200" dirty="0"/>
            <a:t>DO YOUR RESEARCH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>
              <a:latin typeface="+mn-lt"/>
            </a:rPr>
            <a:t>As part of your application, you will be able to pick your preferred schemes. If you select a scheme, ensure you have researched it and have reasons of why you are interested in each scheme.</a:t>
          </a:r>
          <a:endParaRPr lang="en-GB" sz="1600" kern="1200" dirty="0"/>
        </a:p>
      </dsp:txBody>
      <dsp:txXfrm>
        <a:off x="819" y="434953"/>
        <a:ext cx="3195386" cy="1917231"/>
      </dsp:txXfrm>
    </dsp:sp>
    <dsp:sp modelId="{F6321207-3249-46BC-886E-CBB27FB3D38B}">
      <dsp:nvSpPr>
        <dsp:cNvPr id="0" name=""/>
        <dsp:cNvSpPr/>
      </dsp:nvSpPr>
      <dsp:spPr>
        <a:xfrm>
          <a:off x="3515744" y="434953"/>
          <a:ext cx="3195386" cy="191723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 dirty="0"/>
            <a:t>TAKE YOUR TIME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>
              <a:latin typeface="+mn-lt"/>
            </a:rPr>
            <a:t>Take care when you are completing your application, attention to detail is important. Make sure you include ALL your qualifications and predicted grades. </a:t>
          </a:r>
          <a:endParaRPr lang="en-GB" sz="1600" kern="1200" dirty="0"/>
        </a:p>
      </dsp:txBody>
      <dsp:txXfrm>
        <a:off x="3515744" y="434953"/>
        <a:ext cx="3195386" cy="1917231"/>
      </dsp:txXfrm>
    </dsp:sp>
    <dsp:sp modelId="{CF2F19B5-D4A7-4E22-9847-77D7BA18EBEA}">
      <dsp:nvSpPr>
        <dsp:cNvPr id="0" name=""/>
        <dsp:cNvSpPr/>
      </dsp:nvSpPr>
      <dsp:spPr>
        <a:xfrm>
          <a:off x="1758281" y="2671723"/>
          <a:ext cx="3195386" cy="191723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 dirty="0"/>
            <a:t>PLAY TO YOUR STRENGTHS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0" kern="1200" dirty="0"/>
            <a:t>We want to know about you, be truthful and tell us about your experiences, whether that be from school or work, and apply it to working at Sellafield Ltd. </a:t>
          </a:r>
        </a:p>
      </dsp:txBody>
      <dsp:txXfrm>
        <a:off x="1758281" y="2671723"/>
        <a:ext cx="3195386" cy="1917231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E8419E1-E8F7-4A2D-95E3-B5CB742C6860}">
      <dsp:nvSpPr>
        <dsp:cNvPr id="0" name=""/>
        <dsp:cNvSpPr/>
      </dsp:nvSpPr>
      <dsp:spPr>
        <a:xfrm>
          <a:off x="282940" y="168752"/>
          <a:ext cx="1372356" cy="1372356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6E0E646-B74C-4915-A5E2-C58E9D2FE95E}">
      <dsp:nvSpPr>
        <dsp:cNvPr id="0" name=""/>
        <dsp:cNvSpPr/>
      </dsp:nvSpPr>
      <dsp:spPr>
        <a:xfrm>
          <a:off x="571135" y="456947"/>
          <a:ext cx="795966" cy="795966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FF4BE6B-1CDE-4362-B5C5-03F1B462F660}">
      <dsp:nvSpPr>
        <dsp:cNvPr id="0" name=""/>
        <dsp:cNvSpPr/>
      </dsp:nvSpPr>
      <dsp:spPr>
        <a:xfrm>
          <a:off x="1949373" y="168752"/>
          <a:ext cx="3234840" cy="137235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bg1"/>
              </a:solidFill>
            </a:rPr>
            <a:t>Go Live: </a:t>
          </a:r>
        </a:p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bg1"/>
              </a:solidFill>
            </a:rPr>
            <a:t>6</a:t>
          </a:r>
          <a:r>
            <a:rPr lang="en-GB" sz="2400" kern="1200" baseline="30000" dirty="0">
              <a:solidFill>
                <a:schemeClr val="bg1"/>
              </a:solidFill>
            </a:rPr>
            <a:t>th</a:t>
          </a:r>
          <a:r>
            <a:rPr lang="en-GB" sz="2400" kern="1200" dirty="0">
              <a:solidFill>
                <a:schemeClr val="bg1"/>
              </a:solidFill>
            </a:rPr>
            <a:t> November 2023 </a:t>
          </a:r>
          <a:endParaRPr lang="en-US" sz="2400" kern="1200" dirty="0">
            <a:solidFill>
              <a:schemeClr val="bg1"/>
            </a:solidFill>
          </a:endParaRPr>
        </a:p>
      </dsp:txBody>
      <dsp:txXfrm>
        <a:off x="1949373" y="168752"/>
        <a:ext cx="3234840" cy="1372356"/>
      </dsp:txXfrm>
    </dsp:sp>
    <dsp:sp modelId="{E316AA63-F4A7-4B80-A5DB-DD443ACAAD37}">
      <dsp:nvSpPr>
        <dsp:cNvPr id="0" name=""/>
        <dsp:cNvSpPr/>
      </dsp:nvSpPr>
      <dsp:spPr>
        <a:xfrm>
          <a:off x="5747860" y="168752"/>
          <a:ext cx="1372356" cy="1372356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2816A3A-7DDA-4590-B1ED-125E33238364}">
      <dsp:nvSpPr>
        <dsp:cNvPr id="0" name=""/>
        <dsp:cNvSpPr/>
      </dsp:nvSpPr>
      <dsp:spPr>
        <a:xfrm>
          <a:off x="6036055" y="456947"/>
          <a:ext cx="795966" cy="79596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8B140DB-D397-4ACB-B997-AD6B9BCC0F1B}">
      <dsp:nvSpPr>
        <dsp:cNvPr id="0" name=""/>
        <dsp:cNvSpPr/>
      </dsp:nvSpPr>
      <dsp:spPr>
        <a:xfrm>
          <a:off x="7414293" y="168752"/>
          <a:ext cx="3234840" cy="137235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bg1"/>
              </a:solidFill>
            </a:rPr>
            <a:t>Applications Close: </a:t>
          </a:r>
        </a:p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bg1"/>
              </a:solidFill>
            </a:rPr>
            <a:t>11</a:t>
          </a:r>
          <a:r>
            <a:rPr lang="en-GB" sz="2400" kern="1200" baseline="30000" dirty="0">
              <a:solidFill>
                <a:schemeClr val="bg1"/>
              </a:solidFill>
            </a:rPr>
            <a:t>th</a:t>
          </a:r>
          <a:r>
            <a:rPr lang="en-GB" sz="2400" kern="1200" dirty="0">
              <a:solidFill>
                <a:schemeClr val="bg1"/>
              </a:solidFill>
            </a:rPr>
            <a:t> February 2024 </a:t>
          </a:r>
          <a:endParaRPr lang="en-US" sz="2400" kern="1200" dirty="0">
            <a:solidFill>
              <a:schemeClr val="bg1"/>
            </a:solidFill>
          </a:endParaRPr>
        </a:p>
      </dsp:txBody>
      <dsp:txXfrm>
        <a:off x="7414293" y="168752"/>
        <a:ext cx="3234840" cy="1372356"/>
      </dsp:txXfrm>
    </dsp:sp>
    <dsp:sp modelId="{6C75E48D-84AD-4A4D-A46D-ED7605887EBA}">
      <dsp:nvSpPr>
        <dsp:cNvPr id="0" name=""/>
        <dsp:cNvSpPr/>
      </dsp:nvSpPr>
      <dsp:spPr>
        <a:xfrm>
          <a:off x="282940" y="2172406"/>
          <a:ext cx="1372356" cy="1372356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EB4A2F9-83BA-4996-B171-E61ADBDD3B26}">
      <dsp:nvSpPr>
        <dsp:cNvPr id="0" name=""/>
        <dsp:cNvSpPr/>
      </dsp:nvSpPr>
      <dsp:spPr>
        <a:xfrm>
          <a:off x="571135" y="2460601"/>
          <a:ext cx="795966" cy="795966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191CE4C-2A60-4F94-AEA7-2B149EB07832}">
      <dsp:nvSpPr>
        <dsp:cNvPr id="0" name=""/>
        <dsp:cNvSpPr/>
      </dsp:nvSpPr>
      <dsp:spPr>
        <a:xfrm>
          <a:off x="1949373" y="2172406"/>
          <a:ext cx="3234840" cy="137235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bg1"/>
              </a:solidFill>
            </a:rPr>
            <a:t>Interviews: </a:t>
          </a:r>
        </a:p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bg1"/>
              </a:solidFill>
            </a:rPr>
            <a:t>March 2024</a:t>
          </a:r>
          <a:endParaRPr lang="en-US" sz="2400" kern="1200" dirty="0">
            <a:solidFill>
              <a:schemeClr val="bg1"/>
            </a:solidFill>
          </a:endParaRPr>
        </a:p>
      </dsp:txBody>
      <dsp:txXfrm>
        <a:off x="1949373" y="2172406"/>
        <a:ext cx="3234840" cy="1372356"/>
      </dsp:txXfrm>
    </dsp:sp>
    <dsp:sp modelId="{84D85CC4-1770-4F72-87B5-7AB5595D2C98}">
      <dsp:nvSpPr>
        <dsp:cNvPr id="0" name=""/>
        <dsp:cNvSpPr/>
      </dsp:nvSpPr>
      <dsp:spPr>
        <a:xfrm>
          <a:off x="5747860" y="2172406"/>
          <a:ext cx="1372356" cy="1372356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0044663-ACAA-448C-BE98-BFB62B948D88}">
      <dsp:nvSpPr>
        <dsp:cNvPr id="0" name=""/>
        <dsp:cNvSpPr/>
      </dsp:nvSpPr>
      <dsp:spPr>
        <a:xfrm>
          <a:off x="6048194" y="2460601"/>
          <a:ext cx="795966" cy="795966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2DFA1F2-6444-4135-BF25-4FD668B5ACBD}">
      <dsp:nvSpPr>
        <dsp:cNvPr id="0" name=""/>
        <dsp:cNvSpPr/>
      </dsp:nvSpPr>
      <dsp:spPr>
        <a:xfrm>
          <a:off x="7414293" y="2172406"/>
          <a:ext cx="3234840" cy="137235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bg1"/>
              </a:solidFill>
            </a:rPr>
            <a:t>Start Date: </a:t>
          </a:r>
        </a:p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bg1"/>
              </a:solidFill>
            </a:rPr>
            <a:t>September 2024  </a:t>
          </a:r>
          <a:endParaRPr lang="en-US" sz="2400" kern="1200" dirty="0">
            <a:solidFill>
              <a:schemeClr val="bg1"/>
            </a:solidFill>
          </a:endParaRPr>
        </a:p>
      </dsp:txBody>
      <dsp:txXfrm>
        <a:off x="7414293" y="2172406"/>
        <a:ext cx="3234840" cy="137235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5/layout/CenteredIconLabelDescriptionList">
  <dgm:title val="Centered 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5/layout/CenteredIconLabelDescriptionList">
  <dgm:title val="Centered 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18/2/layout/IconCircleList">
  <dgm:title val="Icon Circle List"/>
  <dgm:desc val="Use to show non-sequential or grouped chunks of information accompanied by related visuals. Circular shapes can hold an icon or small picture and corresponding text box shows Level 1 text. Works best for icons or small pictures with medium-length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alg type="sp"/>
    <dgm:shape xmlns:r="http://schemas.openxmlformats.org/officeDocument/2006/relationships" r:blip="">
      <dgm:adjLst/>
    </dgm:shape>
    <dgm:presOf/>
    <dgm:choose name="Name0">
      <dgm:if name="Name1" axis="ch" ptType="node" func="cnt" op="lte" val="3">
        <dgm:constrLst>
          <dgm:constr type="w" for="ch" forName="container" refType="w"/>
          <dgm:constr type="h" for="ch" forName="container" refType="h" fact="0.4"/>
        </dgm:constrLst>
      </dgm:if>
      <dgm:else name="Name2">
        <dgm:constrLst>
          <dgm:constr type="w" for="ch" forName="container" refType="w"/>
          <dgm:constr type="h" for="ch" forName="container" refType="h"/>
        </dgm:constrLst>
      </dgm:else>
    </dgm:choose>
    <dgm:ruleLst>
      <dgm:rule type="h" for="ch" forName="container" val="INF" fact="NaN" max="NaN"/>
    </dgm:ruleLst>
    <dgm:layoutNode name="container">
      <dgm:varLst>
        <dgm:dir/>
        <dgm:resizeHandles val="exact"/>
      </dgm:varLst>
      <dgm:choose name="Name3">
        <dgm:if name="Name4" axis="self" func="var" arg="dir" op="equ" val="norm">
          <dgm:alg type="snake">
            <dgm:param type="grDir" val="tL"/>
            <dgm:param type="flowDir" val="row"/>
            <dgm:param type="contDir" val="sameDir"/>
          </dgm:alg>
        </dgm:if>
        <dgm:else name="Name5">
          <dgm:alg type="snake">
            <dgm:param type="grDir" val="tR"/>
            <dgm:param type="flowDir" val="row"/>
            <dgm:param type="contDir" val="sameDi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w" fact="0.28"/>
        <dgm:constr type="w" for="ch" forName="sibTrans" refType="w" refFor="ch" refForName="compNode" fact="0.115"/>
        <dgm:constr type="sp" refType="h" op="equ" fact="0.17"/>
        <dgm:constr type="primFontSz" for="des" ptType="node" op="equ" val="24"/>
        <dgm:constr type="h" for="des" forName="compNode" op="equ"/>
        <dgm:constr type="h" for="des" forName="iconBgRect" op="equ"/>
      </dgm:constrLst>
      <dgm:ruleLst>
        <dgm:rule type="w" for="ch" forName="compNode" val="60" fact="NaN" max="NaN"/>
      </dgm:ruleLst>
      <dgm:forEach name="Name6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 axis="self"/>
          <dgm:constrLst>
            <dgm:constr type="w" for="ch" forName="iconBgRect" refType="w" fact="0.28"/>
            <dgm:constr type="h" for="ch" forName="iconBgRect" refType="w" refFor="ch" refForName="iconBgRect"/>
            <dgm:constr type="t" for="ch" forName="iconBgRect"/>
            <dgm:constr type="l" for="ch" forName="iconBgRect"/>
            <dgm:constr type="w" for="ch" forName="iconRect" refType="w" refFor="ch" refForName="iconBgRect" fact="0.58"/>
            <dgm:constr type="h" for="ch" forName="iconRect" refType="w" refFor="ch" refForName="iconRect"/>
            <dgm:constr type="ctrX" for="ch" forName="iconRect" refType="ctrX" refFor="ch" refForName="iconBgRect"/>
            <dgm:constr type="ctrY" for="ch" forName="iconRect" refType="ctrY" refFor="ch" refForName="iconBgRect"/>
            <dgm:constr type="w" for="ch" forName="spaceRect" refType="w" fact="0.06"/>
            <dgm:constr type="h" for="ch" forName="spaceRect" refType="h" refFor="ch" refForName="iconBgRect"/>
            <dgm:constr type="t" for="ch" forName="spaceRect" refType="t" refFor="ch" refForName="iconBgRect"/>
            <dgm:constr type="l" for="ch" forName="spaceRect" refType="r" refFor="ch" refForName="iconBgRect"/>
            <dgm:constr type="h" for="ch" forName="textRect" refType="h" refFor="ch" refForName="iconBgRect"/>
            <dgm:constr type="t" for="ch" forName="textRect" refType="t" refFor="ch" refForName="iconBgRect"/>
            <dgm:constr type="l" for="ch" forName="textRect" refType="r" refFor="ch" refForName="spaceRect"/>
          </dgm:constrLst>
          <dgm:ruleLst/>
          <dgm:layoutNode name="iconBgRect" styleLbl="bgShp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  <dgm:ruleLst/>
          </dgm:layoutNode>
          <dgm:layoutNode name="iconRect" styleLbl="node1">
            <dgm:alg type="sp"/>
            <dgm:shape xmlns:r="http://schemas.openxmlformats.org/officeDocument/2006/relationships" type="rect" r:blip="" blipPhldr="1">
              <dgm:adjLst/>
            </dgm:shape>
            <dgm:presOf/>
            <dgm:constrLst/>
            <dgm:ruleLst/>
          </dgm:layoutNode>
          <dgm:layoutNode name="spaceRect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textRect" styleLbl="revTx">
            <dgm:varLst>
              <dgm:chMax val="1"/>
              <dgm:chPref val="1"/>
            </dgm:varLst>
            <dgm:choose name="Name7">
              <dgm:if name="Name8" func="var" arg="dir" op="equ" val="norm">
                <dgm:alg type="tx">
                  <dgm:param type="txAnchorVert" val="mid"/>
                  <dgm:param type="parTxLTRAlign" val="l"/>
                  <dgm:param type="shpTxLTRAlignCh" val="l"/>
                  <dgm:param type="parTxRTLAlign" val="l"/>
                  <dgm:param type="shpTxRTLAlignCh" val="l"/>
                </dgm:alg>
              </dgm:if>
              <dgm:else name="Name9">
                <dgm:alg type="tx">
                  <dgm:param type="txAnchorVert" val="mid"/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11" fact="NaN" max="NaN"/>
            </dgm:ruleLst>
          </dgm:layoutNode>
        </dgm:layoutNode>
        <dgm:forEach name="Name10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16/7/layout/RepeatingBendingProcessNew">
  <dgm:title val="Repeating Bending Process New"/>
  <dgm:desc val=""/>
  <dgm:catLst>
    <dgm:cat type="process" pri="5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bkpt" val="endCnv"/>
        </dgm:alg>
      </dgm:if>
      <dgm:else name="Name3">
        <dgm:alg type="snake">
          <dgm:param type="grDir" val="tR"/>
          <dgm:param type="flowDir" val="row"/>
          <dgm:param type="contDir" val="same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23"/>
      <dgm:constr type="sp" refType="w" refFor="ch" refForName="sibTrans" op="equ"/>
      <dgm:constr type="userB" for="des" forName="connectorText" refType="sp"/>
      <dgm:constr type="primFontSz" for="ch" ptType="node" op="equ" val="65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 fact="0.6"/>
          <dgm:constr type="tMarg" refType="h" fact="0.243"/>
          <dgm:constr type="bMarg" refType="h" fact="0.243"/>
          <dgm:constr type="lMarg" refType="w" fact="0.1389"/>
          <dgm:constr type="rMarg" refType="w" fact="0.1389"/>
        </dgm:constrLst>
        <dgm:ruleLst>
          <dgm:rule type="primFontSz" val="12" fact="NaN" max="NaN"/>
        </dgm:ruleLst>
      </dgm:layoutNode>
      <dgm:forEach name="sibTransForEach" axis="followSib" ptType="sibTrans" cnt="1">
        <dgm:layoutNode name="sibTrans">
          <dgm:choose name="Name4">
            <dgm:if name="Name5" axis="self" func="var" arg="dir" op="equ" val="norm">
              <dgm:alg type="conn">
                <dgm:param type="connRout" val="bend"/>
                <dgm:param type="dim" val="1D"/>
                <dgm:param type="begPts" val="midR bCtr"/>
                <dgm:param type="endPts" val="midL tCtr"/>
              </dgm:alg>
            </dgm:if>
            <dgm:else name="Name6">
              <dgm:alg type="conn">
                <dgm:param type="connRout" val="bend"/>
                <dgm:param type="dim" val="1D"/>
                <dgm:param type="begPts" val="midL bCtr"/>
                <dgm:param type="endPts" val="midR tCt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 val="-0.05"/>
            <dgm:constr type="endPad" val="0.9"/>
            <dgm:constr type="userA" for="ch" ref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userA"/>
              <dgm:constr type="userB"/>
              <dgm:constr type="w" refType="userA" fact="0.05"/>
              <dgm:constr type="h" refType="userB" fact="0.01"/>
              <dgm:constr type="lMarg" val="1"/>
              <dgm:constr type="rMarg" val="1"/>
              <dgm:constr type="tMarg"/>
              <dgm:constr type="bMarg"/>
            </dgm:constrLst>
            <dgm:ruleLst>
              <dgm:rule type="w" val="NaN" fact="0.6" max="NaN"/>
              <dgm:rule type="h" val="NaN" fact="0.6" max="NaN"/>
              <dgm:rule type="primFontSz" val="5" fact="NaN" max="NaN"/>
            </dgm:ruleLst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18/2/layout/IconCircleList">
  <dgm:title val="Icon Circle List"/>
  <dgm:desc val="Use to show non-sequential or grouped chunks of information accompanied by related visuals. Circular shapes can hold an icon or small picture and corresponding text box shows Level 1 text. Works best for icons or small pictures with medium-length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alg type="sp"/>
    <dgm:shape xmlns:r="http://schemas.openxmlformats.org/officeDocument/2006/relationships" r:blip="">
      <dgm:adjLst/>
    </dgm:shape>
    <dgm:presOf/>
    <dgm:choose name="Name0">
      <dgm:if name="Name1" axis="ch" ptType="node" func="cnt" op="lte" val="3">
        <dgm:constrLst>
          <dgm:constr type="w" for="ch" forName="container" refType="w"/>
          <dgm:constr type="h" for="ch" forName="container" refType="h" fact="0.4"/>
        </dgm:constrLst>
      </dgm:if>
      <dgm:else name="Name2">
        <dgm:constrLst>
          <dgm:constr type="w" for="ch" forName="container" refType="w"/>
          <dgm:constr type="h" for="ch" forName="container" refType="h"/>
        </dgm:constrLst>
      </dgm:else>
    </dgm:choose>
    <dgm:ruleLst>
      <dgm:rule type="h" for="ch" forName="container" val="INF" fact="NaN" max="NaN"/>
    </dgm:ruleLst>
    <dgm:layoutNode name="container">
      <dgm:varLst>
        <dgm:dir/>
        <dgm:resizeHandles val="exact"/>
      </dgm:varLst>
      <dgm:choose name="Name3">
        <dgm:if name="Name4" axis="self" func="var" arg="dir" op="equ" val="norm">
          <dgm:alg type="snake">
            <dgm:param type="grDir" val="tL"/>
            <dgm:param type="flowDir" val="row"/>
            <dgm:param type="contDir" val="sameDir"/>
          </dgm:alg>
        </dgm:if>
        <dgm:else name="Name5">
          <dgm:alg type="snake">
            <dgm:param type="grDir" val="tR"/>
            <dgm:param type="flowDir" val="row"/>
            <dgm:param type="contDir" val="sameDi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w" fact="0.28"/>
        <dgm:constr type="w" for="ch" forName="sibTrans" refType="w" refFor="ch" refForName="compNode" fact="0.115"/>
        <dgm:constr type="sp" refType="h" op="equ" fact="0.17"/>
        <dgm:constr type="primFontSz" for="des" ptType="node" op="equ" val="24"/>
        <dgm:constr type="h" for="des" forName="compNode" op="equ"/>
        <dgm:constr type="h" for="des" forName="iconBgRect" op="equ"/>
      </dgm:constrLst>
      <dgm:ruleLst>
        <dgm:rule type="w" for="ch" forName="compNode" val="60" fact="NaN" max="NaN"/>
      </dgm:ruleLst>
      <dgm:forEach name="Name6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 axis="self"/>
          <dgm:constrLst>
            <dgm:constr type="w" for="ch" forName="iconBgRect" refType="w" fact="0.28"/>
            <dgm:constr type="h" for="ch" forName="iconBgRect" refType="w" refFor="ch" refForName="iconBgRect"/>
            <dgm:constr type="t" for="ch" forName="iconBgRect"/>
            <dgm:constr type="l" for="ch" forName="iconBgRect"/>
            <dgm:constr type="w" for="ch" forName="iconRect" refType="w" refFor="ch" refForName="iconBgRect" fact="0.58"/>
            <dgm:constr type="h" for="ch" forName="iconRect" refType="w" refFor="ch" refForName="iconRect"/>
            <dgm:constr type="ctrX" for="ch" forName="iconRect" refType="ctrX" refFor="ch" refForName="iconBgRect"/>
            <dgm:constr type="ctrY" for="ch" forName="iconRect" refType="ctrY" refFor="ch" refForName="iconBgRect"/>
            <dgm:constr type="w" for="ch" forName="spaceRect" refType="w" fact="0.06"/>
            <dgm:constr type="h" for="ch" forName="spaceRect" refType="h" refFor="ch" refForName="iconBgRect"/>
            <dgm:constr type="t" for="ch" forName="spaceRect" refType="t" refFor="ch" refForName="iconBgRect"/>
            <dgm:constr type="l" for="ch" forName="spaceRect" refType="r" refFor="ch" refForName="iconBgRect"/>
            <dgm:constr type="h" for="ch" forName="textRect" refType="h" refFor="ch" refForName="iconBgRect"/>
            <dgm:constr type="t" for="ch" forName="textRect" refType="t" refFor="ch" refForName="iconBgRect"/>
            <dgm:constr type="l" for="ch" forName="textRect" refType="r" refFor="ch" refForName="spaceRect"/>
          </dgm:constrLst>
          <dgm:ruleLst/>
          <dgm:layoutNode name="iconBgRect" styleLbl="bgShp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  <dgm:ruleLst/>
          </dgm:layoutNode>
          <dgm:layoutNode name="iconRect" styleLbl="node1">
            <dgm:alg type="sp"/>
            <dgm:shape xmlns:r="http://schemas.openxmlformats.org/officeDocument/2006/relationships" type="rect" r:blip="" blipPhldr="1">
              <dgm:adjLst/>
            </dgm:shape>
            <dgm:presOf/>
            <dgm:constrLst/>
            <dgm:ruleLst/>
          </dgm:layoutNode>
          <dgm:layoutNode name="spaceRect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textRect" styleLbl="revTx">
            <dgm:varLst>
              <dgm:chMax val="1"/>
              <dgm:chPref val="1"/>
            </dgm:varLst>
            <dgm:choose name="Name7">
              <dgm:if name="Name8" func="var" arg="dir" op="equ" val="norm">
                <dgm:alg type="tx">
                  <dgm:param type="txAnchorVert" val="mid"/>
                  <dgm:param type="parTxLTRAlign" val="l"/>
                  <dgm:param type="shpTxLTRAlignCh" val="l"/>
                  <dgm:param type="parTxRTLAlign" val="l"/>
                  <dgm:param type="shpTxRTLAlignCh" val="l"/>
                </dgm:alg>
              </dgm:if>
              <dgm:else name="Name9">
                <dgm:alg type="tx">
                  <dgm:param type="txAnchorVert" val="mid"/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11" fact="NaN" max="NaN"/>
            </dgm:ruleLst>
          </dgm:layoutNode>
        </dgm:layoutNode>
        <dgm:forEach name="Name10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0007FFD-C4B8-4847-9179-C4689072571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930C7FF-ADD1-468C-A84E-FA683439781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7E071F1B-D848-4C1F-9784-6EAEE1984199}" type="datetimeFigureOut">
              <a:rPr lang="en-GB" smtClean="0"/>
              <a:t>06/11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445B46-5527-4DEE-A954-1AEEEDD4E9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48597B0-E58D-433D-8574-378A9B529CE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40D1E4D7-4163-4D64-A215-E75DB0E18BF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60633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67E87773-37AF-490D-8BA8-E0D1320DABB6}" type="datetimeFigureOut">
              <a:rPr lang="en-GB" smtClean="0"/>
              <a:t>06/11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071F3221-C46D-4DE8-865D-6EE7C77EB06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857744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1F3221-C46D-4DE8-865D-6EE7C77EB063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01651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1F3221-C46D-4DE8-865D-6EE7C77EB063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90521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1F3221-C46D-4DE8-865D-6EE7C77EB063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10618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1F3221-C46D-4DE8-865D-6EE7C77EB063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92740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1F3221-C46D-4DE8-865D-6EE7C77EB063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7183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1F3221-C46D-4DE8-865D-6EE7C77EB063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3429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1F3221-C46D-4DE8-865D-6EE7C77EB063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06183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1F3221-C46D-4DE8-865D-6EE7C77EB063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95896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1F3221-C46D-4DE8-865D-6EE7C77EB063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91516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1F3221-C46D-4DE8-865D-6EE7C77EB063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37794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1F3221-C46D-4DE8-865D-6EE7C77EB063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39051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1F3221-C46D-4DE8-865D-6EE7C77EB063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47030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3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2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4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4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B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9494CEE-FB9E-45FB-B7B7-5B2373192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0029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2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9494CEE-FB9E-45FB-B7B7-5B2373192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BD542C-A3DB-49E3-B85F-5C225C4B154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>
              <a:latin typeface="Georgia" panose="02040502050405020303" pitchFamily="18" charset="0"/>
              <a:ea typeface="+mj-ea"/>
              <a:cs typeface="Arial" panose="020B0604020202020204" pitchFamily="34" charset="0"/>
              <a:sym typeface="Georgia" panose="02040502050405020303" pitchFamily="18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C7FC9CD-74ED-1543-928D-1AEA0959A3AD}"/>
              </a:ext>
            </a:extLst>
          </p:cNvPr>
          <p:cNvSpPr/>
          <p:nvPr userDrawn="1"/>
        </p:nvSpPr>
        <p:spPr>
          <a:xfrm>
            <a:off x="0" y="6030000"/>
            <a:ext cx="12192000" cy="82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B9652529-0B6C-CE4B-AD34-3C3B04CC38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337991"/>
            <a:ext cx="11520000" cy="1008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3000" b="1" i="0">
                <a:solidFill>
                  <a:schemeClr val="tx2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812FECE-7C89-0446-ADA5-54EDAF8449D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6000" y="1422340"/>
            <a:ext cx="11520000" cy="4320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0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DB87B8A-0DCE-4A72-8166-6883B344946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00400" y="6284955"/>
            <a:ext cx="1620000" cy="312554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B33C95B4-C72E-4990-8BEF-3A8D062C7E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9987" y="6310076"/>
            <a:ext cx="504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560F855-427A-4679-A329-DA83A0C739EA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D034444-0416-4491-889D-8C99A538CAB4}"/>
              </a:ext>
            </a:extLst>
          </p:cNvPr>
          <p:cNvCxnSpPr/>
          <p:nvPr userDrawn="1"/>
        </p:nvCxnSpPr>
        <p:spPr>
          <a:xfrm>
            <a:off x="2315187" y="6284632"/>
            <a:ext cx="0" cy="3132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4FF53F23-FB8E-4162-8250-8DAEEB622359}"/>
              </a:ext>
            </a:extLst>
          </p:cNvPr>
          <p:cNvSpPr/>
          <p:nvPr userDrawn="1"/>
        </p:nvSpPr>
        <p:spPr>
          <a:xfrm>
            <a:off x="2402967" y="6155014"/>
            <a:ext cx="732068" cy="5724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GB"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up Business Servic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15A3108-F709-4194-95C3-FC174F2D7259}"/>
              </a:ext>
            </a:extLst>
          </p:cNvPr>
          <p:cNvSpPr/>
          <p:nvPr userDrawn="1"/>
        </p:nvSpPr>
        <p:spPr>
          <a:xfrm>
            <a:off x="4408884" y="6351232"/>
            <a:ext cx="3374232" cy="180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9D968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FFICIAL (marked) – Sellafield Ltd. Group Business Services (GBS)</a:t>
            </a:r>
          </a:p>
        </p:txBody>
      </p:sp>
    </p:spTree>
    <p:extLst>
      <p:ext uri="{BB962C8B-B14F-4D97-AF65-F5344CB8AC3E}">
        <p14:creationId xmlns:p14="http://schemas.microsoft.com/office/powerpoint/2010/main" val="37553739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BS CONTENT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DEF3E9-E818-4332-AB25-5911FE2604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5860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08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DEF3E9-E818-4332-AB25-5911FE2604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DB798C7-4143-4C51-A11F-7035A413EBD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>
              <a:latin typeface="Georgia" panose="02040502050405020303" pitchFamily="18" charset="0"/>
              <a:ea typeface="+mj-ea"/>
              <a:cs typeface="Arial" panose="020B0604020202020204" pitchFamily="34" charset="0"/>
              <a:sym typeface="Georgia" panose="02040502050405020303" pitchFamily="18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700E7A3-C03C-184E-8FCD-46142B1ADA69}"/>
              </a:ext>
            </a:extLst>
          </p:cNvPr>
          <p:cNvSpPr/>
          <p:nvPr userDrawn="1"/>
        </p:nvSpPr>
        <p:spPr>
          <a:xfrm>
            <a:off x="0" y="6030000"/>
            <a:ext cx="12192000" cy="82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B9652529-0B6C-CE4B-AD34-3C3B04CC38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337992"/>
            <a:ext cx="11520000" cy="1008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3000" b="1" i="0"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812FECE-7C89-0446-ADA5-54EDAF8449D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6000" y="1422340"/>
            <a:ext cx="11520000" cy="4320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8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A009BA7A-5536-4278-AE9E-BDAB081FDD9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00400" y="6284955"/>
            <a:ext cx="1620000" cy="312554"/>
          </a:xfrm>
          <a:prstGeom prst="rect">
            <a:avLst/>
          </a:prstGeom>
        </p:spPr>
      </p:pic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5FB32EE7-39B6-4E9E-A28D-1247F44084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9987" y="6310076"/>
            <a:ext cx="504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560F855-427A-4679-A329-DA83A0C739EA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A4735DA-3BE1-48AE-B096-03E863805DB0}"/>
              </a:ext>
            </a:extLst>
          </p:cNvPr>
          <p:cNvCxnSpPr/>
          <p:nvPr userDrawn="1"/>
        </p:nvCxnSpPr>
        <p:spPr>
          <a:xfrm>
            <a:off x="2315187" y="6284632"/>
            <a:ext cx="0" cy="3132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EA3267E2-8403-44DB-A024-EBDB428FD007}"/>
              </a:ext>
            </a:extLst>
          </p:cNvPr>
          <p:cNvSpPr/>
          <p:nvPr userDrawn="1"/>
        </p:nvSpPr>
        <p:spPr>
          <a:xfrm>
            <a:off x="2402967" y="6155014"/>
            <a:ext cx="732068" cy="5724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GB" sz="8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up Business Servic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F0069DF-3E1C-458D-8A8B-93F236439CE9}"/>
              </a:ext>
            </a:extLst>
          </p:cNvPr>
          <p:cNvSpPr/>
          <p:nvPr userDrawn="1"/>
        </p:nvSpPr>
        <p:spPr>
          <a:xfrm>
            <a:off x="4408884" y="6351232"/>
            <a:ext cx="3374232" cy="180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9D968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FFICIAL (marked) – Sellafield Ltd. Group Business Services (GBS)</a:t>
            </a:r>
          </a:p>
        </p:txBody>
      </p:sp>
    </p:spTree>
    <p:extLst>
      <p:ext uri="{BB962C8B-B14F-4D97-AF65-F5344CB8AC3E}">
        <p14:creationId xmlns:p14="http://schemas.microsoft.com/office/powerpoint/2010/main" val="18193510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GB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9494CEE-FB9E-45FB-B7B7-5B2373192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2947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32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9494CEE-FB9E-45FB-B7B7-5B2373192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BD542C-A3DB-49E3-B85F-5C225C4B154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>
              <a:latin typeface="Georgia" panose="02040502050405020303" pitchFamily="18" charset="0"/>
              <a:ea typeface="+mj-ea"/>
              <a:cs typeface="Arial" panose="020B0604020202020204" pitchFamily="34" charset="0"/>
              <a:sym typeface="Georgia" panose="02040502050405020303" pitchFamily="18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C7FC9CD-74ED-1543-928D-1AEA0959A3AD}"/>
              </a:ext>
            </a:extLst>
          </p:cNvPr>
          <p:cNvSpPr/>
          <p:nvPr userDrawn="1"/>
        </p:nvSpPr>
        <p:spPr>
          <a:xfrm>
            <a:off x="0" y="6030000"/>
            <a:ext cx="12192000" cy="82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B9652529-0B6C-CE4B-AD34-3C3B04CC38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5052" y="532690"/>
            <a:ext cx="11520000" cy="5143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400" b="1" i="0">
                <a:solidFill>
                  <a:schemeClr val="tx2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812FECE-7C89-0446-ADA5-54EDAF8449D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6000" y="1422340"/>
            <a:ext cx="11520000" cy="4320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0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DB87B8A-0DCE-4A72-8166-6883B344946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00400" y="6284955"/>
            <a:ext cx="1620000" cy="312554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B33C95B4-C72E-4990-8BEF-3A8D062C7E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9987" y="6310076"/>
            <a:ext cx="504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560F855-427A-4679-A329-DA83A0C739EA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D034444-0416-4491-889D-8C99A538CAB4}"/>
              </a:ext>
            </a:extLst>
          </p:cNvPr>
          <p:cNvCxnSpPr/>
          <p:nvPr userDrawn="1"/>
        </p:nvCxnSpPr>
        <p:spPr>
          <a:xfrm>
            <a:off x="2315187" y="6284632"/>
            <a:ext cx="0" cy="3132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4FF53F23-FB8E-4162-8250-8DAEEB622359}"/>
              </a:ext>
            </a:extLst>
          </p:cNvPr>
          <p:cNvSpPr/>
          <p:nvPr userDrawn="1"/>
        </p:nvSpPr>
        <p:spPr>
          <a:xfrm>
            <a:off x="2402967" y="6155014"/>
            <a:ext cx="732068" cy="5724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GB"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up Business Services</a:t>
            </a:r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4DE95FB8-A2F6-4D52-88AE-9566CB697A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6480" y="321358"/>
            <a:ext cx="7139220" cy="2113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1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  <a:endParaRPr lang="en-GB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209710B-808D-48AF-BCCE-A8DFBA97D0D2}"/>
              </a:ext>
            </a:extLst>
          </p:cNvPr>
          <p:cNvSpPr/>
          <p:nvPr userDrawn="1"/>
        </p:nvSpPr>
        <p:spPr>
          <a:xfrm>
            <a:off x="4408884" y="6351232"/>
            <a:ext cx="3374232" cy="180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9D968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FFICIAL (marked) – Sellafield Ltd. Group Business Services (GBS)</a:t>
            </a:r>
          </a:p>
        </p:txBody>
      </p:sp>
    </p:spTree>
    <p:extLst>
      <p:ext uri="{BB962C8B-B14F-4D97-AF65-F5344CB8AC3E}">
        <p14:creationId xmlns:p14="http://schemas.microsoft.com/office/powerpoint/2010/main" val="20178434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GBS TITL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42E1B18-F29B-4F77-836F-2B579B569C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6509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56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42E1B18-F29B-4F77-836F-2B579B569C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F8F0F12-53D8-4E06-92EA-C8CB187EE3A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Georgia" panose="02040502050405020303" pitchFamily="18" charset="0"/>
              <a:ea typeface="+mj-ea"/>
              <a:cs typeface="Arial" panose="020B0604020202020204" pitchFamily="34" charset="0"/>
              <a:sym typeface="Georgia" panose="02040502050405020303" pitchFamily="18" charset="0"/>
            </a:endParaRP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30330DB1-4615-2D40-B768-3857D4F395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6000" y="2463657"/>
            <a:ext cx="10800000" cy="720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3200" b="1" i="0"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CA030210-CCB6-4C47-BA1C-320154C3735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92700" y="392022"/>
            <a:ext cx="2032000" cy="393700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4008F0E-99C5-4C34-82FA-75AA576EEE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6000" y="4260072"/>
            <a:ext cx="3600000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date</a:t>
            </a:r>
            <a:endParaRPr lang="en-GB"/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5D7EE66A-9392-4B67-B73F-BC26CA3364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9987" y="6310076"/>
            <a:ext cx="504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560F855-427A-4679-A329-DA83A0C739E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59C1DF3-3429-480A-97CD-33B38BDC0A1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6000" y="3355975"/>
            <a:ext cx="10800000" cy="72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subtitle</a:t>
            </a:r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6DDBDAA-AF3F-4839-9CB7-11632F921216}"/>
              </a:ext>
            </a:extLst>
          </p:cNvPr>
          <p:cNvCxnSpPr/>
          <p:nvPr userDrawn="1"/>
        </p:nvCxnSpPr>
        <p:spPr>
          <a:xfrm>
            <a:off x="2655655" y="392022"/>
            <a:ext cx="0" cy="3924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6AFC8CB7-3E7D-4661-8F62-EAFADD863A43}"/>
              </a:ext>
            </a:extLst>
          </p:cNvPr>
          <p:cNvSpPr/>
          <p:nvPr userDrawn="1"/>
        </p:nvSpPr>
        <p:spPr>
          <a:xfrm>
            <a:off x="2769887" y="229556"/>
            <a:ext cx="963038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GB" sz="900">
                <a:latin typeface="Arial" panose="020B0604020202020204" pitchFamily="34" charset="0"/>
                <a:cs typeface="Arial" panose="020B0604020202020204" pitchFamily="34" charset="0"/>
              </a:rPr>
              <a:t>Group Business Servic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FBF948A-AD0F-42D1-A59B-E1B33D7D6222}"/>
              </a:ext>
            </a:extLst>
          </p:cNvPr>
          <p:cNvSpPr/>
          <p:nvPr userDrawn="1"/>
        </p:nvSpPr>
        <p:spPr>
          <a:xfrm>
            <a:off x="4408884" y="6351232"/>
            <a:ext cx="3374232" cy="180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9D968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FFICIAL (marked) – Sellafield Ltd. Group Business Services (GBS)</a:t>
            </a:r>
          </a:p>
        </p:txBody>
      </p:sp>
    </p:spTree>
    <p:extLst>
      <p:ext uri="{BB962C8B-B14F-4D97-AF65-F5344CB8AC3E}">
        <p14:creationId xmlns:p14="http://schemas.microsoft.com/office/powerpoint/2010/main" val="30162825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GBS CHAPT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42E1B18-F29B-4F77-836F-2B579B569C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029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80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42E1B18-F29B-4F77-836F-2B579B569C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F8F0F12-53D8-4E06-92EA-C8CB187EE3A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Georgia" panose="02040502050405020303" pitchFamily="18" charset="0"/>
              <a:ea typeface="+mj-ea"/>
              <a:cs typeface="Arial" panose="020B0604020202020204" pitchFamily="34" charset="0"/>
              <a:sym typeface="Georgia" panose="02040502050405020303" pitchFamily="18" charset="0"/>
            </a:endParaRPr>
          </a:p>
        </p:txBody>
      </p:sp>
      <p:sp>
        <p:nvSpPr>
          <p:cNvPr id="7" name="Flowchart: Manual Input 6">
            <a:extLst>
              <a:ext uri="{FF2B5EF4-FFF2-40B4-BE49-F238E27FC236}">
                <a16:creationId xmlns:a16="http://schemas.microsoft.com/office/drawing/2014/main" id="{A9804B2F-3642-411A-B822-21B3A734EF19}"/>
              </a:ext>
            </a:extLst>
          </p:cNvPr>
          <p:cNvSpPr/>
          <p:nvPr userDrawn="1"/>
        </p:nvSpPr>
        <p:spPr>
          <a:xfrm rot="5400000" flipV="1">
            <a:off x="5522999" y="189000"/>
            <a:ext cx="6858000" cy="6480000"/>
          </a:xfrm>
          <a:prstGeom prst="flowChartManualInpu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30330DB1-4615-2D40-B768-3857D4F395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6000" y="2463657"/>
            <a:ext cx="5040000" cy="1080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3200" b="1" i="0"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CA030210-CCB6-4C47-BA1C-320154C3735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92700" y="392022"/>
            <a:ext cx="2032000" cy="393700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5D7EE66A-9392-4B67-B73F-BC26CA3364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9987" y="6310076"/>
            <a:ext cx="504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560F855-427A-4679-A329-DA83A0C739E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59C1DF3-3429-480A-97CD-33B38BDC0A1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6000" y="3706171"/>
            <a:ext cx="5040000" cy="72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subtitle</a:t>
            </a:r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1B1833F-070C-4275-B9CF-6F686D059556}"/>
              </a:ext>
            </a:extLst>
          </p:cNvPr>
          <p:cNvCxnSpPr/>
          <p:nvPr userDrawn="1"/>
        </p:nvCxnSpPr>
        <p:spPr>
          <a:xfrm>
            <a:off x="2655655" y="392022"/>
            <a:ext cx="0" cy="3924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3648E073-F2D2-4958-AB2F-21C7B5ED0CD1}"/>
              </a:ext>
            </a:extLst>
          </p:cNvPr>
          <p:cNvSpPr/>
          <p:nvPr userDrawn="1"/>
        </p:nvSpPr>
        <p:spPr>
          <a:xfrm>
            <a:off x="2769887" y="229556"/>
            <a:ext cx="963038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GB" sz="900">
                <a:latin typeface="Arial" panose="020B0604020202020204" pitchFamily="34" charset="0"/>
                <a:cs typeface="Arial" panose="020B0604020202020204" pitchFamily="34" charset="0"/>
              </a:rPr>
              <a:t>Group Business Servic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9F3FFFB-B5E5-428B-B94B-8EA201D0ECCB}"/>
              </a:ext>
            </a:extLst>
          </p:cNvPr>
          <p:cNvSpPr/>
          <p:nvPr userDrawn="1"/>
        </p:nvSpPr>
        <p:spPr>
          <a:xfrm>
            <a:off x="1193244" y="6351232"/>
            <a:ext cx="3374232" cy="180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9D968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FFICIAL (marked) – Sellafield Ltd. Group Business Services (GBS)</a:t>
            </a:r>
          </a:p>
        </p:txBody>
      </p:sp>
    </p:spTree>
    <p:extLst>
      <p:ext uri="{BB962C8B-B14F-4D97-AF65-F5344CB8AC3E}">
        <p14:creationId xmlns:p14="http://schemas.microsoft.com/office/powerpoint/2010/main" val="13674025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GBS SAFET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B31FA96-54B1-40C1-BA8B-DB48317E9D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7830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04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B31FA96-54B1-40C1-BA8B-DB48317E9D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CA021756-1691-4418-969F-081D1318E9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9987" y="6310076"/>
            <a:ext cx="504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560F855-427A-4679-A329-DA83A0C739EA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70202B57-8DC8-4369-BCFA-313D9C8C0F8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92700" y="392022"/>
            <a:ext cx="2032000" cy="39370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9B8FDE9-2561-480A-905D-7F115D6DAEF5}"/>
              </a:ext>
            </a:extLst>
          </p:cNvPr>
          <p:cNvCxnSpPr/>
          <p:nvPr userDrawn="1"/>
        </p:nvCxnSpPr>
        <p:spPr>
          <a:xfrm>
            <a:off x="2655655" y="392022"/>
            <a:ext cx="0" cy="3924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14FF38F6-131F-4482-B3B5-FEC28DF89C02}"/>
              </a:ext>
            </a:extLst>
          </p:cNvPr>
          <p:cNvSpPr/>
          <p:nvPr userDrawn="1"/>
        </p:nvSpPr>
        <p:spPr>
          <a:xfrm>
            <a:off x="2769887" y="229556"/>
            <a:ext cx="963038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GB" sz="900">
                <a:latin typeface="Arial" panose="020B0604020202020204" pitchFamily="34" charset="0"/>
                <a:cs typeface="Arial" panose="020B0604020202020204" pitchFamily="34" charset="0"/>
              </a:rPr>
              <a:t>Group Business Servic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4D3060E-0A90-4DCF-BAD5-E38F6928A9B2}"/>
              </a:ext>
            </a:extLst>
          </p:cNvPr>
          <p:cNvSpPr/>
          <p:nvPr userDrawn="1"/>
        </p:nvSpPr>
        <p:spPr>
          <a:xfrm>
            <a:off x="1416000" y="2709000"/>
            <a:ext cx="9360000" cy="144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000" b="1"/>
              <a:t>Safety Messag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6D45604-3117-4B2A-86CE-36D770349BEF}"/>
              </a:ext>
            </a:extLst>
          </p:cNvPr>
          <p:cNvSpPr/>
          <p:nvPr userDrawn="1"/>
        </p:nvSpPr>
        <p:spPr>
          <a:xfrm>
            <a:off x="4408884" y="6351232"/>
            <a:ext cx="3374232" cy="180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9D968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FFICIAL (marked) – Sellafield Ltd. Group Business Services (GBS)</a:t>
            </a:r>
          </a:p>
        </p:txBody>
      </p:sp>
    </p:spTree>
    <p:extLst>
      <p:ext uri="{BB962C8B-B14F-4D97-AF65-F5344CB8AC3E}">
        <p14:creationId xmlns:p14="http://schemas.microsoft.com/office/powerpoint/2010/main" val="29727806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GBS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D51D3B7-A977-4AC4-8AD3-7EF3C7FF48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7647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28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D51D3B7-A977-4AC4-8AD3-7EF3C7FF48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A picture containing clipart, vector graphics&#10;&#10;Description automatically generated">
            <a:extLst>
              <a:ext uri="{FF2B5EF4-FFF2-40B4-BE49-F238E27FC236}">
                <a16:creationId xmlns:a16="http://schemas.microsoft.com/office/drawing/2014/main" id="{8BCE3794-F64C-48BB-9698-99F4BFC74A4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064000" y="3035300"/>
            <a:ext cx="4064000" cy="787400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8B405B-6E45-4F7A-B3A5-C31AA59443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9987" y="6310076"/>
            <a:ext cx="504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560F855-427A-4679-A329-DA83A0C739E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653B30C-C914-4482-A3D0-42B1E598E605}"/>
              </a:ext>
            </a:extLst>
          </p:cNvPr>
          <p:cNvSpPr/>
          <p:nvPr userDrawn="1"/>
        </p:nvSpPr>
        <p:spPr>
          <a:xfrm>
            <a:off x="4408884" y="6351232"/>
            <a:ext cx="3374232" cy="180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9D968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FFICIAL (marked) – Sellafield Ltd. Group Business Services (GBS)</a:t>
            </a:r>
          </a:p>
        </p:txBody>
      </p:sp>
    </p:spTree>
    <p:extLst>
      <p:ext uri="{BB962C8B-B14F-4D97-AF65-F5344CB8AC3E}">
        <p14:creationId xmlns:p14="http://schemas.microsoft.com/office/powerpoint/2010/main" val="40344558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GBS LOGO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B31FA96-54B1-40C1-BA8B-DB48317E9D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66035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52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B31FA96-54B1-40C1-BA8B-DB48317E9D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5E6BDB60-6CA7-4B70-946C-834EDF222C6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064000" y="3041650"/>
            <a:ext cx="4064000" cy="774700"/>
          </a:xfrm>
          <a:prstGeom prst="rect">
            <a:avLst/>
          </a:prstGeom>
        </p:spPr>
      </p:pic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CA021756-1691-4418-969F-081D1318E9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9987" y="6310076"/>
            <a:ext cx="504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560F855-427A-4679-A329-DA83A0C739E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9BB0343-4729-4BA0-994F-0D1532440102}"/>
              </a:ext>
            </a:extLst>
          </p:cNvPr>
          <p:cNvSpPr/>
          <p:nvPr userDrawn="1"/>
        </p:nvSpPr>
        <p:spPr>
          <a:xfrm>
            <a:off x="4408884" y="6351232"/>
            <a:ext cx="3374232" cy="180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9D968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FFICIAL (marked) – Sellafield Ltd. Group Business Services (GBS)</a:t>
            </a:r>
          </a:p>
        </p:txBody>
      </p:sp>
    </p:spTree>
    <p:extLst>
      <p:ext uri="{BB962C8B-B14F-4D97-AF65-F5344CB8AC3E}">
        <p14:creationId xmlns:p14="http://schemas.microsoft.com/office/powerpoint/2010/main" val="25273723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versed 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30330DB1-4615-2D40-B768-3857D4F395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1204" y="2463657"/>
            <a:ext cx="10515600" cy="84307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4700" b="1" i="0"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E0738EE-291E-0D4B-B5D4-D9DAB10848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71204" y="3364924"/>
            <a:ext cx="10515600" cy="1742498"/>
          </a:xfrm>
          <a:prstGeom prst="rect">
            <a:avLst/>
          </a:prstGeom>
          <a:solidFill>
            <a:schemeClr val="bg2"/>
          </a:solidFill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sz="2800" b="0" i="0">
                <a:solidFill>
                  <a:schemeClr val="accent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FF248046-888E-8C43-8DAC-9CFE90A30C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974244" y="2094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GB" dirty="0"/>
              <a:t>OFFICIAL</a:t>
            </a:r>
            <a:endParaRPr lang="en-US" dirty="0"/>
          </a:p>
        </p:txBody>
      </p:sp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68198D74-BE12-1D4D-B396-F6D080FB73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598" y="392022"/>
            <a:ext cx="2709333" cy="393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87808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versed text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700E7A3-C03C-184E-8FCD-46142B1ADA69}"/>
              </a:ext>
            </a:extLst>
          </p:cNvPr>
          <p:cNvSpPr/>
          <p:nvPr userDrawn="1"/>
        </p:nvSpPr>
        <p:spPr>
          <a:xfrm>
            <a:off x="0" y="6037200"/>
            <a:ext cx="12192000" cy="8244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B9652529-0B6C-CE4B-AD34-3C3B04CC38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1204" y="805701"/>
            <a:ext cx="10515600" cy="84853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3000" b="1" i="0"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812FECE-7C89-0446-ADA5-54EDAF8449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71204" y="1909511"/>
            <a:ext cx="10515600" cy="39343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8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874C645D-8FBF-4E47-BC62-2EB0F38819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7200" y="6285278"/>
            <a:ext cx="2160000" cy="312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5933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BS CONTENT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DEF3E9-E818-4332-AB25-5911FE2604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9576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6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DEF3E9-E818-4332-AB25-5911FE2604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DB798C7-4143-4C51-A11F-7035A413EBD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>
              <a:latin typeface="Georgia" panose="02040502050405020303" pitchFamily="18" charset="0"/>
              <a:ea typeface="+mj-ea"/>
              <a:cs typeface="Arial" panose="020B0604020202020204" pitchFamily="34" charset="0"/>
              <a:sym typeface="Georgia" panose="02040502050405020303" pitchFamily="18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700E7A3-C03C-184E-8FCD-46142B1ADA69}"/>
              </a:ext>
            </a:extLst>
          </p:cNvPr>
          <p:cNvSpPr/>
          <p:nvPr userDrawn="1"/>
        </p:nvSpPr>
        <p:spPr>
          <a:xfrm>
            <a:off x="0" y="6030000"/>
            <a:ext cx="12192000" cy="82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B9652529-0B6C-CE4B-AD34-3C3B04CC38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337992"/>
            <a:ext cx="11520000" cy="1008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3000" b="1" i="0"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812FECE-7C89-0446-ADA5-54EDAF8449D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6000" y="1422340"/>
            <a:ext cx="11520000" cy="4320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8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A009BA7A-5536-4278-AE9E-BDAB081FDD9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00400" y="6284955"/>
            <a:ext cx="1620000" cy="312554"/>
          </a:xfrm>
          <a:prstGeom prst="rect">
            <a:avLst/>
          </a:prstGeom>
        </p:spPr>
      </p:pic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5FB32EE7-39B6-4E9E-A28D-1247F44084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9987" y="6310076"/>
            <a:ext cx="504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560F855-427A-4679-A329-DA83A0C739EA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A4735DA-3BE1-48AE-B096-03E863805DB0}"/>
              </a:ext>
            </a:extLst>
          </p:cNvPr>
          <p:cNvCxnSpPr/>
          <p:nvPr userDrawn="1"/>
        </p:nvCxnSpPr>
        <p:spPr>
          <a:xfrm>
            <a:off x="2315187" y="6284632"/>
            <a:ext cx="0" cy="3132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EA3267E2-8403-44DB-A024-EBDB428FD007}"/>
              </a:ext>
            </a:extLst>
          </p:cNvPr>
          <p:cNvSpPr/>
          <p:nvPr userDrawn="1"/>
        </p:nvSpPr>
        <p:spPr>
          <a:xfrm>
            <a:off x="2402967" y="6155014"/>
            <a:ext cx="732068" cy="5724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GB" sz="8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up Business Servic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859186C-F846-4AB1-BD9A-8A76F7784C09}"/>
              </a:ext>
            </a:extLst>
          </p:cNvPr>
          <p:cNvSpPr/>
          <p:nvPr userDrawn="1"/>
        </p:nvSpPr>
        <p:spPr>
          <a:xfrm>
            <a:off x="4408884" y="6351232"/>
            <a:ext cx="3374232" cy="180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9D968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FFICIAL (marked) – Sellafield Ltd. Group Business Services (GBS)</a:t>
            </a:r>
          </a:p>
        </p:txBody>
      </p:sp>
    </p:spTree>
    <p:extLst>
      <p:ext uri="{BB962C8B-B14F-4D97-AF65-F5344CB8AC3E}">
        <p14:creationId xmlns:p14="http://schemas.microsoft.com/office/powerpoint/2010/main" val="1461497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B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4AD00F7-BD5D-4890-95BB-56C1814D4F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31156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0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4AD00F7-BD5D-4890-95BB-56C1814D4F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40109C-2376-49A3-9567-CAC6B359386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Georgia" panose="02040502050405020303" pitchFamily="18" charset="0"/>
              <a:ea typeface="+mj-ea"/>
              <a:cs typeface="Arial" panose="020B0604020202020204" pitchFamily="34" charset="0"/>
              <a:sym typeface="Georgia" panose="02040502050405020303" pitchFamily="18" charset="0"/>
            </a:endParaRP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30330DB1-4615-2D40-B768-3857D4F395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6000" y="2463657"/>
            <a:ext cx="10800000" cy="720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3200" b="1" i="0">
                <a:solidFill>
                  <a:schemeClr val="tx2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B00567AB-B6DA-4B19-91C2-F75A4646CB2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90698" y="389141"/>
            <a:ext cx="2034000" cy="392429"/>
          </a:xfrm>
          <a:prstGeom prst="rect">
            <a:avLst/>
          </a:prstGeom>
        </p:spPr>
      </p:pic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79581B00-B6AC-48E3-ABEA-8170FE25DDE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6000" y="4260072"/>
            <a:ext cx="3600000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date</a:t>
            </a:r>
            <a:endParaRPr lang="en-GB"/>
          </a:p>
        </p:txBody>
      </p:sp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65714874-6B7B-44ED-8FF4-0527725BBF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9987" y="6310076"/>
            <a:ext cx="504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560F855-427A-4679-A329-DA83A0C739E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090BBB6-9D19-4BA8-963A-8C242599C7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6000" y="3355975"/>
            <a:ext cx="10800000" cy="72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3D45A8C-6459-4EAA-B95A-DC00081AE263}"/>
              </a:ext>
            </a:extLst>
          </p:cNvPr>
          <p:cNvSpPr/>
          <p:nvPr userDrawn="1"/>
        </p:nvSpPr>
        <p:spPr>
          <a:xfrm>
            <a:off x="2769887" y="229556"/>
            <a:ext cx="963038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GB" sz="9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up Business Servic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543A82B-E308-4386-9E93-BDC48C4D4C4B}"/>
              </a:ext>
            </a:extLst>
          </p:cNvPr>
          <p:cNvCxnSpPr/>
          <p:nvPr userDrawn="1"/>
        </p:nvCxnSpPr>
        <p:spPr>
          <a:xfrm>
            <a:off x="2655655" y="392022"/>
            <a:ext cx="0" cy="3924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83B39A3B-0862-4C2B-869B-DF2468CD377F}"/>
              </a:ext>
            </a:extLst>
          </p:cNvPr>
          <p:cNvSpPr/>
          <p:nvPr userDrawn="1"/>
        </p:nvSpPr>
        <p:spPr>
          <a:xfrm>
            <a:off x="4408884" y="6351232"/>
            <a:ext cx="3374232" cy="180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9D968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FFICIAL (marked) – Sellafield Ltd. Group Business Services (GBS)</a:t>
            </a:r>
          </a:p>
        </p:txBody>
      </p:sp>
    </p:spTree>
    <p:extLst>
      <p:ext uri="{BB962C8B-B14F-4D97-AF65-F5344CB8AC3E}">
        <p14:creationId xmlns:p14="http://schemas.microsoft.com/office/powerpoint/2010/main" val="17613030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BS TITL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42E1B18-F29B-4F77-836F-2B579B569C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4716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4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42E1B18-F29B-4F77-836F-2B579B569C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F8F0F12-53D8-4E06-92EA-C8CB187EE3A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Georgia" panose="02040502050405020303" pitchFamily="18" charset="0"/>
              <a:ea typeface="+mj-ea"/>
              <a:cs typeface="Arial" panose="020B0604020202020204" pitchFamily="34" charset="0"/>
              <a:sym typeface="Georgia" panose="02040502050405020303" pitchFamily="18" charset="0"/>
            </a:endParaRP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30330DB1-4615-2D40-B768-3857D4F395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6000" y="2463657"/>
            <a:ext cx="10800000" cy="720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3200" b="1" i="0"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CA030210-CCB6-4C47-BA1C-320154C3735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92700" y="392022"/>
            <a:ext cx="2032000" cy="393700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4008F0E-99C5-4C34-82FA-75AA576EEE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6000" y="4260072"/>
            <a:ext cx="3600000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date</a:t>
            </a:r>
            <a:endParaRPr lang="en-GB"/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5D7EE66A-9392-4B67-B73F-BC26CA3364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9987" y="6310076"/>
            <a:ext cx="504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560F855-427A-4679-A329-DA83A0C739E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59C1DF3-3429-480A-97CD-33B38BDC0A1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6000" y="3355975"/>
            <a:ext cx="10800000" cy="72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subtitle</a:t>
            </a:r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6DDBDAA-AF3F-4839-9CB7-11632F921216}"/>
              </a:ext>
            </a:extLst>
          </p:cNvPr>
          <p:cNvCxnSpPr/>
          <p:nvPr userDrawn="1"/>
        </p:nvCxnSpPr>
        <p:spPr>
          <a:xfrm>
            <a:off x="2655655" y="392022"/>
            <a:ext cx="0" cy="3924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6AFC8CB7-3E7D-4661-8F62-EAFADD863A43}"/>
              </a:ext>
            </a:extLst>
          </p:cNvPr>
          <p:cNvSpPr/>
          <p:nvPr userDrawn="1"/>
        </p:nvSpPr>
        <p:spPr>
          <a:xfrm>
            <a:off x="2769887" y="229556"/>
            <a:ext cx="963038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GB" sz="900">
                <a:latin typeface="Arial" panose="020B0604020202020204" pitchFamily="34" charset="0"/>
                <a:cs typeface="Arial" panose="020B0604020202020204" pitchFamily="34" charset="0"/>
              </a:rPr>
              <a:t>Group Business Servic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44E8F94-7A60-430D-A502-15F3A3315CA8}"/>
              </a:ext>
            </a:extLst>
          </p:cNvPr>
          <p:cNvSpPr/>
          <p:nvPr userDrawn="1"/>
        </p:nvSpPr>
        <p:spPr>
          <a:xfrm>
            <a:off x="4408884" y="6351232"/>
            <a:ext cx="3374232" cy="180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9D968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FFICIAL (marked) – Sellafield Ltd. Group Business Services (GBS)</a:t>
            </a:r>
          </a:p>
        </p:txBody>
      </p:sp>
    </p:spTree>
    <p:extLst>
      <p:ext uri="{BB962C8B-B14F-4D97-AF65-F5344CB8AC3E}">
        <p14:creationId xmlns:p14="http://schemas.microsoft.com/office/powerpoint/2010/main" val="36600658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BS CHAPT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42E1B18-F29B-4F77-836F-2B579B569C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6349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8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42E1B18-F29B-4F77-836F-2B579B569C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F8F0F12-53D8-4E06-92EA-C8CB187EE3A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Georgia" panose="02040502050405020303" pitchFamily="18" charset="0"/>
              <a:ea typeface="+mj-ea"/>
              <a:cs typeface="Arial" panose="020B0604020202020204" pitchFamily="34" charset="0"/>
              <a:sym typeface="Georgia" panose="02040502050405020303" pitchFamily="18" charset="0"/>
            </a:endParaRPr>
          </a:p>
        </p:txBody>
      </p:sp>
      <p:sp>
        <p:nvSpPr>
          <p:cNvPr id="7" name="Flowchart: Manual Input 6">
            <a:extLst>
              <a:ext uri="{FF2B5EF4-FFF2-40B4-BE49-F238E27FC236}">
                <a16:creationId xmlns:a16="http://schemas.microsoft.com/office/drawing/2014/main" id="{A9804B2F-3642-411A-B822-21B3A734EF19}"/>
              </a:ext>
            </a:extLst>
          </p:cNvPr>
          <p:cNvSpPr/>
          <p:nvPr userDrawn="1"/>
        </p:nvSpPr>
        <p:spPr>
          <a:xfrm rot="5400000" flipV="1">
            <a:off x="5522999" y="189000"/>
            <a:ext cx="6858000" cy="6480000"/>
          </a:xfrm>
          <a:prstGeom prst="flowChartManualInpu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30330DB1-4615-2D40-B768-3857D4F395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6000" y="2463657"/>
            <a:ext cx="5040000" cy="1080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3200" b="1" i="0"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CA030210-CCB6-4C47-BA1C-320154C3735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92700" y="392022"/>
            <a:ext cx="2032000" cy="393700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5D7EE66A-9392-4B67-B73F-BC26CA3364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9987" y="6310076"/>
            <a:ext cx="504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560F855-427A-4679-A329-DA83A0C739E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59C1DF3-3429-480A-97CD-33B38BDC0A1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6000" y="3706171"/>
            <a:ext cx="5040000" cy="72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subtitle</a:t>
            </a:r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1B1833F-070C-4275-B9CF-6F686D059556}"/>
              </a:ext>
            </a:extLst>
          </p:cNvPr>
          <p:cNvCxnSpPr/>
          <p:nvPr userDrawn="1"/>
        </p:nvCxnSpPr>
        <p:spPr>
          <a:xfrm>
            <a:off x="2655655" y="392022"/>
            <a:ext cx="0" cy="3924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3648E073-F2D2-4958-AB2F-21C7B5ED0CD1}"/>
              </a:ext>
            </a:extLst>
          </p:cNvPr>
          <p:cNvSpPr/>
          <p:nvPr userDrawn="1"/>
        </p:nvSpPr>
        <p:spPr>
          <a:xfrm>
            <a:off x="2769887" y="229556"/>
            <a:ext cx="963038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GB" sz="900">
                <a:latin typeface="Arial" panose="020B0604020202020204" pitchFamily="34" charset="0"/>
                <a:cs typeface="Arial" panose="020B0604020202020204" pitchFamily="34" charset="0"/>
              </a:rPr>
              <a:t>Group Business Servic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5E9A18B-22F7-4EDC-9EE0-651086820CA9}"/>
              </a:ext>
            </a:extLst>
          </p:cNvPr>
          <p:cNvSpPr/>
          <p:nvPr userDrawn="1"/>
        </p:nvSpPr>
        <p:spPr>
          <a:xfrm>
            <a:off x="1193244" y="6351232"/>
            <a:ext cx="3374232" cy="180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9D968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FFICIAL (marked) – Sellafield Ltd. Group Business Services (GBS)</a:t>
            </a:r>
          </a:p>
        </p:txBody>
      </p:sp>
    </p:spTree>
    <p:extLst>
      <p:ext uri="{BB962C8B-B14F-4D97-AF65-F5344CB8AC3E}">
        <p14:creationId xmlns:p14="http://schemas.microsoft.com/office/powerpoint/2010/main" val="12202728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BS SAFET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B31FA96-54B1-40C1-BA8B-DB48317E9D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4761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2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B31FA96-54B1-40C1-BA8B-DB48317E9D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CA021756-1691-4418-969F-081D1318E9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9987" y="6310076"/>
            <a:ext cx="504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560F855-427A-4679-A329-DA83A0C739EA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70202B57-8DC8-4369-BCFA-313D9C8C0F8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92700" y="392022"/>
            <a:ext cx="2032000" cy="39370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9B8FDE9-2561-480A-905D-7F115D6DAEF5}"/>
              </a:ext>
            </a:extLst>
          </p:cNvPr>
          <p:cNvCxnSpPr/>
          <p:nvPr userDrawn="1"/>
        </p:nvCxnSpPr>
        <p:spPr>
          <a:xfrm>
            <a:off x="2655655" y="392022"/>
            <a:ext cx="0" cy="3924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14FF38F6-131F-4482-B3B5-FEC28DF89C02}"/>
              </a:ext>
            </a:extLst>
          </p:cNvPr>
          <p:cNvSpPr/>
          <p:nvPr userDrawn="1"/>
        </p:nvSpPr>
        <p:spPr>
          <a:xfrm>
            <a:off x="2769887" y="229556"/>
            <a:ext cx="963038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GB" sz="900">
                <a:latin typeface="Arial" panose="020B0604020202020204" pitchFamily="34" charset="0"/>
                <a:cs typeface="Arial" panose="020B0604020202020204" pitchFamily="34" charset="0"/>
              </a:rPr>
              <a:t>Group Business Servic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4D3060E-0A90-4DCF-BAD5-E38F6928A9B2}"/>
              </a:ext>
            </a:extLst>
          </p:cNvPr>
          <p:cNvSpPr/>
          <p:nvPr userDrawn="1"/>
        </p:nvSpPr>
        <p:spPr>
          <a:xfrm>
            <a:off x="1416000" y="2709000"/>
            <a:ext cx="9360000" cy="144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000" b="1"/>
              <a:t>Safety Messag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830F548-8C1D-4EA4-A46C-C05B897298EC}"/>
              </a:ext>
            </a:extLst>
          </p:cNvPr>
          <p:cNvSpPr/>
          <p:nvPr userDrawn="1"/>
        </p:nvSpPr>
        <p:spPr>
          <a:xfrm>
            <a:off x="4408884" y="6351232"/>
            <a:ext cx="3374232" cy="180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9D968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FFICIAL (marked) – Sellafield Ltd. Group Business Services (GBS)</a:t>
            </a:r>
          </a:p>
        </p:txBody>
      </p:sp>
    </p:spTree>
    <p:extLst>
      <p:ext uri="{BB962C8B-B14F-4D97-AF65-F5344CB8AC3E}">
        <p14:creationId xmlns:p14="http://schemas.microsoft.com/office/powerpoint/2010/main" val="37983107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BS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D51D3B7-A977-4AC4-8AD3-7EF3C7FF48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8438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6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D51D3B7-A977-4AC4-8AD3-7EF3C7FF48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A picture containing clipart, vector graphics&#10;&#10;Description automatically generated">
            <a:extLst>
              <a:ext uri="{FF2B5EF4-FFF2-40B4-BE49-F238E27FC236}">
                <a16:creationId xmlns:a16="http://schemas.microsoft.com/office/drawing/2014/main" id="{8BCE3794-F64C-48BB-9698-99F4BFC74A4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064000" y="3035300"/>
            <a:ext cx="4064000" cy="787400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8B405B-6E45-4F7A-B3A5-C31AA59443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9987" y="6310076"/>
            <a:ext cx="504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560F855-427A-4679-A329-DA83A0C739E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4258264-C2E6-499D-9902-BB111A711EB7}"/>
              </a:ext>
            </a:extLst>
          </p:cNvPr>
          <p:cNvSpPr/>
          <p:nvPr userDrawn="1"/>
        </p:nvSpPr>
        <p:spPr>
          <a:xfrm>
            <a:off x="4408884" y="6351232"/>
            <a:ext cx="3374232" cy="180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9D968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FFICIAL (marked) – Sellafield Ltd. Group Business Services (GBS)</a:t>
            </a:r>
          </a:p>
        </p:txBody>
      </p:sp>
    </p:spTree>
    <p:extLst>
      <p:ext uri="{BB962C8B-B14F-4D97-AF65-F5344CB8AC3E}">
        <p14:creationId xmlns:p14="http://schemas.microsoft.com/office/powerpoint/2010/main" val="28555697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BS LOGO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B31FA96-54B1-40C1-BA8B-DB48317E9D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41463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0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B31FA96-54B1-40C1-BA8B-DB48317E9D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5E6BDB60-6CA7-4B70-946C-834EDF222C6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064000" y="3041650"/>
            <a:ext cx="4064000" cy="774700"/>
          </a:xfrm>
          <a:prstGeom prst="rect">
            <a:avLst/>
          </a:prstGeom>
        </p:spPr>
      </p:pic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CA021756-1691-4418-969F-081D1318E9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9987" y="6310076"/>
            <a:ext cx="504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560F855-427A-4679-A329-DA83A0C739E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A8ED8E8-0AFF-4BAF-8C27-3BAC79BCF400}"/>
              </a:ext>
            </a:extLst>
          </p:cNvPr>
          <p:cNvSpPr/>
          <p:nvPr userDrawn="1"/>
        </p:nvSpPr>
        <p:spPr>
          <a:xfrm>
            <a:off x="4408884" y="6351232"/>
            <a:ext cx="3374232" cy="180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9D968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FFICIAL (marked) – Sellafield Ltd. Group Business Services (GBS)</a:t>
            </a:r>
          </a:p>
        </p:txBody>
      </p:sp>
    </p:spTree>
    <p:extLst>
      <p:ext uri="{BB962C8B-B14F-4D97-AF65-F5344CB8AC3E}">
        <p14:creationId xmlns:p14="http://schemas.microsoft.com/office/powerpoint/2010/main" val="31092425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B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9494CEE-FB9E-45FB-B7B7-5B2373192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3586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4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9494CEE-FB9E-45FB-B7B7-5B2373192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BD542C-A3DB-49E3-B85F-5C225C4B154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>
              <a:latin typeface="Georgia" panose="02040502050405020303" pitchFamily="18" charset="0"/>
              <a:ea typeface="+mj-ea"/>
              <a:cs typeface="Arial" panose="020B0604020202020204" pitchFamily="34" charset="0"/>
              <a:sym typeface="Georgia" panose="02040502050405020303" pitchFamily="18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C7FC9CD-74ED-1543-928D-1AEA0959A3AD}"/>
              </a:ext>
            </a:extLst>
          </p:cNvPr>
          <p:cNvSpPr/>
          <p:nvPr userDrawn="1"/>
        </p:nvSpPr>
        <p:spPr>
          <a:xfrm>
            <a:off x="0" y="6030000"/>
            <a:ext cx="12192000" cy="82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B9652529-0B6C-CE4B-AD34-3C3B04CC38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337991"/>
            <a:ext cx="11520000" cy="1008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3000" b="1" i="0">
                <a:solidFill>
                  <a:schemeClr val="tx2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812FECE-7C89-0446-ADA5-54EDAF8449D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6000" y="1422340"/>
            <a:ext cx="11520000" cy="4320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0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DB87B8A-0DCE-4A72-8166-6883B344946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00400" y="6284955"/>
            <a:ext cx="1620000" cy="312554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B33C95B4-C72E-4990-8BEF-3A8D062C7E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9987" y="6310076"/>
            <a:ext cx="504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560F855-427A-4679-A329-DA83A0C739EA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D034444-0416-4491-889D-8C99A538CAB4}"/>
              </a:ext>
            </a:extLst>
          </p:cNvPr>
          <p:cNvCxnSpPr/>
          <p:nvPr userDrawn="1"/>
        </p:nvCxnSpPr>
        <p:spPr>
          <a:xfrm>
            <a:off x="2315187" y="6284632"/>
            <a:ext cx="0" cy="3132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4FF53F23-FB8E-4162-8250-8DAEEB622359}"/>
              </a:ext>
            </a:extLst>
          </p:cNvPr>
          <p:cNvSpPr/>
          <p:nvPr userDrawn="1"/>
        </p:nvSpPr>
        <p:spPr>
          <a:xfrm>
            <a:off x="2402967" y="6155014"/>
            <a:ext cx="732068" cy="5724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GB"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up Business Servic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D19C4E3-21F6-4EC1-B414-727F09E0C4B4}"/>
              </a:ext>
            </a:extLst>
          </p:cNvPr>
          <p:cNvSpPr/>
          <p:nvPr userDrawn="1"/>
        </p:nvSpPr>
        <p:spPr>
          <a:xfrm>
            <a:off x="4408884" y="6351232"/>
            <a:ext cx="3374232" cy="180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9D968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FFICIAL (marked) – Sellafield Ltd. Group Business Services (GBS)</a:t>
            </a:r>
          </a:p>
        </p:txBody>
      </p:sp>
    </p:spTree>
    <p:extLst>
      <p:ext uri="{BB962C8B-B14F-4D97-AF65-F5344CB8AC3E}">
        <p14:creationId xmlns:p14="http://schemas.microsoft.com/office/powerpoint/2010/main" val="25274230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40F644B-F16A-4204-A7A5-EABD40071D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445151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9" name="think-cell Slide" r:id="rId22" imgW="473" imgH="476" progId="TCLayout.ActiveDocument.1">
                  <p:embed/>
                </p:oleObj>
              </mc:Choice>
              <mc:Fallback>
                <p:oleObj name="think-cell Slide" r:id="rId22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40F644B-F16A-4204-A7A5-EABD40071D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21848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803" r:id="rId2"/>
    <p:sldLayoutId id="2147483804" r:id="rId3"/>
    <p:sldLayoutId id="2147483805" r:id="rId4"/>
    <p:sldLayoutId id="2147483806" r:id="rId5"/>
    <p:sldLayoutId id="2147483807" r:id="rId6"/>
    <p:sldLayoutId id="2147483808" r:id="rId7"/>
    <p:sldLayoutId id="2147483809" r:id="rId8"/>
    <p:sldLayoutId id="2147483812" r:id="rId9"/>
    <p:sldLayoutId id="2147483813" r:id="rId10"/>
    <p:sldLayoutId id="2147483814" r:id="rId11"/>
    <p:sldLayoutId id="2147483815" r:id="rId12"/>
    <p:sldLayoutId id="2147483816" r:id="rId13"/>
    <p:sldLayoutId id="2147483817" r:id="rId14"/>
    <p:sldLayoutId id="2147483818" r:id="rId15"/>
    <p:sldLayoutId id="2147483819" r:id="rId16"/>
    <p:sldLayoutId id="2147483854" r:id="rId17"/>
    <p:sldLayoutId id="2147483855" r:id="rId1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8.xml"/><Relationship Id="rId3" Type="http://schemas.openxmlformats.org/officeDocument/2006/relationships/image" Target="../media/image24.png"/><Relationship Id="rId7" Type="http://schemas.openxmlformats.org/officeDocument/2006/relationships/diagramColors" Target="../diagrams/colors8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8.xml"/><Relationship Id="rId5" Type="http://schemas.openxmlformats.org/officeDocument/2006/relationships/diagramLayout" Target="../diagrams/layout8.xml"/><Relationship Id="rId4" Type="http://schemas.openxmlformats.org/officeDocument/2006/relationships/diagramData" Target="../diagrams/data8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diagramData" Target="../diagrams/data9.xml"/><Relationship Id="rId7" Type="http://schemas.microsoft.com/office/2007/relationships/diagramDrawing" Target="../diagrams/drawing9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Relationship Id="rId6" Type="http://schemas.openxmlformats.org/officeDocument/2006/relationships/diagramColors" Target="../diagrams/colors9.xml"/><Relationship Id="rId5" Type="http://schemas.openxmlformats.org/officeDocument/2006/relationships/diagramQuickStyle" Target="../diagrams/quickStyle9.xml"/><Relationship Id="rId4" Type="http://schemas.openxmlformats.org/officeDocument/2006/relationships/diagramLayout" Target="../diagrams/layout9.xml"/><Relationship Id="rId9" Type="http://schemas.openxmlformats.org/officeDocument/2006/relationships/image" Target="../media/image54.sv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image" Target="../media/image24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svg"/><Relationship Id="rId13" Type="http://schemas.openxmlformats.org/officeDocument/2006/relationships/image" Target="../media/image43.pn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12" Type="http://schemas.openxmlformats.org/officeDocument/2006/relationships/image" Target="../media/image42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svg"/><Relationship Id="rId11" Type="http://schemas.openxmlformats.org/officeDocument/2006/relationships/image" Target="../media/image41.png"/><Relationship Id="rId5" Type="http://schemas.openxmlformats.org/officeDocument/2006/relationships/image" Target="../media/image35.png"/><Relationship Id="rId10" Type="http://schemas.openxmlformats.org/officeDocument/2006/relationships/image" Target="../media/image40.svg"/><Relationship Id="rId4" Type="http://schemas.openxmlformats.org/officeDocument/2006/relationships/image" Target="../media/image34.svg"/><Relationship Id="rId9" Type="http://schemas.openxmlformats.org/officeDocument/2006/relationships/image" Target="../media/image39.png"/><Relationship Id="rId14" Type="http://schemas.openxmlformats.org/officeDocument/2006/relationships/image" Target="../media/image44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99EBD-55AE-45CA-A13F-6AD5DE7749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337992"/>
            <a:ext cx="11520000" cy="1008000"/>
          </a:xfrm>
        </p:spPr>
        <p:txBody>
          <a:bodyPr anchor="t">
            <a:normAutofit/>
          </a:bodyPr>
          <a:lstStyle/>
          <a:p>
            <a:r>
              <a:rPr lang="en-GB" dirty="0"/>
              <a:t>Apprenticeship Opportunities </a:t>
            </a:r>
            <a:br>
              <a:rPr lang="en-GB" dirty="0"/>
            </a:br>
            <a:r>
              <a:rPr lang="en-GB" dirty="0"/>
              <a:t>Why Choose Sellafield Ltd.?</a:t>
            </a:r>
          </a:p>
        </p:txBody>
      </p:sp>
      <p:pic>
        <p:nvPicPr>
          <p:cNvPr id="5" name="Picture 4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2044F5C1-3C26-4340-81A6-456A3F56C8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2154" y="1384240"/>
            <a:ext cx="8307692" cy="4320000"/>
          </a:xfrm>
          <a:prstGeom prst="rect">
            <a:avLst/>
          </a:prstGeom>
          <a:noFill/>
        </p:spPr>
      </p:pic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43350719-0277-8BDA-248E-33AB4EDAEB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9987" y="6310076"/>
            <a:ext cx="504000" cy="360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C560F855-427A-4679-A329-DA83A0C739EA}" type="slidenum">
              <a:rPr lang="en-GB" smtClean="0"/>
              <a:pPr>
                <a:spcAft>
                  <a:spcPts val="600"/>
                </a:spcAft>
              </a:pPr>
              <a:t>1</a:t>
            </a:fld>
            <a:endParaRPr lang="en-GB"/>
          </a:p>
        </p:txBody>
      </p:sp>
      <p:sp>
        <p:nvSpPr>
          <p:cNvPr id="4" name="Slide Number Placeholder 3" hidden="1">
            <a:extLst>
              <a:ext uri="{FF2B5EF4-FFF2-40B4-BE49-F238E27FC236}">
                <a16:creationId xmlns:a16="http://schemas.microsoft.com/office/drawing/2014/main" id="{1B92DC67-3AEE-41E5-8115-F5753C2C70CC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89987" y="6310076"/>
            <a:ext cx="504000" cy="360000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C560F855-427A-4679-A329-DA83A0C739EA}" type="slidenum">
              <a:rPr lang="en-GB" smtClean="0"/>
              <a:pPr>
                <a:lnSpc>
                  <a:spcPct val="90000"/>
                </a:lnSpc>
                <a:spcAft>
                  <a:spcPts val="600"/>
                </a:spcAft>
              </a:pPr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01121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85AE01-C0E5-4191-B1BF-C2DEF37DF3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pplication Tip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26F593-1A0E-41CC-9108-639CE10DF4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560F855-427A-4679-A329-DA83A0C739EA}" type="slidenum">
              <a:rPr lang="en-GB" smtClean="0"/>
              <a:pPr/>
              <a:t>10</a:t>
            </a:fld>
            <a:endParaRPr lang="en-GB"/>
          </a:p>
        </p:txBody>
      </p:sp>
      <p:pic>
        <p:nvPicPr>
          <p:cNvPr id="8" name="Picture 7" descr="A group of people posing for the camera&#10;&#10;Description automatically generated">
            <a:extLst>
              <a:ext uri="{FF2B5EF4-FFF2-40B4-BE49-F238E27FC236}">
                <a16:creationId xmlns:a16="http://schemas.microsoft.com/office/drawing/2014/main" id="{9D56A72B-705C-455E-9983-9DD87A3FC2C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31" r="1" b="12361"/>
          <a:stretch/>
        </p:blipFill>
        <p:spPr>
          <a:xfrm>
            <a:off x="7038975" y="0"/>
            <a:ext cx="5153025" cy="6010275"/>
          </a:xfrm>
          <a:prstGeom prst="rect">
            <a:avLst/>
          </a:prstGeom>
        </p:spPr>
      </p:pic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53810027-D423-49C0-A19D-D86BA848E5F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76058541"/>
              </p:ext>
            </p:extLst>
          </p:nvPr>
        </p:nvGraphicFramePr>
        <p:xfrm>
          <a:off x="193675" y="719666"/>
          <a:ext cx="6711950" cy="50239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40083014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0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778CCE-C654-4569-B936-271DA6C40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603247"/>
            <a:ext cx="2975091" cy="557158"/>
          </a:xfrm>
        </p:spPr>
        <p:txBody>
          <a:bodyPr anchor="t">
            <a:norm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Key Date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9E38F3-A68C-422B-87F2-363ADCEEDE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9987" y="6310076"/>
            <a:ext cx="504000" cy="360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C560F855-427A-4679-A329-DA83A0C739EA}" type="slidenum">
              <a:rPr lang="en-GB" smtClean="0"/>
              <a:pPr>
                <a:spcAft>
                  <a:spcPts val="600"/>
                </a:spcAft>
              </a:pPr>
              <a:t>11</a:t>
            </a:fld>
            <a:endParaRPr lang="en-GB"/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DF544A46-C6BF-1A82-DCE5-C00563DCCE6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5900336"/>
              </p:ext>
            </p:extLst>
          </p:nvPr>
        </p:nvGraphicFramePr>
        <p:xfrm>
          <a:off x="336000" y="2028824"/>
          <a:ext cx="10932075" cy="37135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Oval 8">
            <a:extLst>
              <a:ext uri="{FF2B5EF4-FFF2-40B4-BE49-F238E27FC236}">
                <a16:creationId xmlns:a16="http://schemas.microsoft.com/office/drawing/2014/main" id="{5DEDC838-6869-4916-9DE6-343FC773AFAB}"/>
              </a:ext>
            </a:extLst>
          </p:cNvPr>
          <p:cNvSpPr/>
          <p:nvPr/>
        </p:nvSpPr>
        <p:spPr>
          <a:xfrm>
            <a:off x="6096000" y="315052"/>
            <a:ext cx="1372356" cy="1372356"/>
          </a:xfrm>
          <a:prstGeom prst="ellipse">
            <a:avLst/>
          </a:prstGeom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0" name="Rectangle 9" descr="Daily Calendar">
            <a:extLst>
              <a:ext uri="{FF2B5EF4-FFF2-40B4-BE49-F238E27FC236}">
                <a16:creationId xmlns:a16="http://schemas.microsoft.com/office/drawing/2014/main" id="{25E7EE0F-A7C6-4708-AB51-6867704D9EE6}"/>
              </a:ext>
            </a:extLst>
          </p:cNvPr>
          <p:cNvSpPr/>
          <p:nvPr/>
        </p:nvSpPr>
        <p:spPr>
          <a:xfrm>
            <a:off x="6384195" y="603247"/>
            <a:ext cx="795966" cy="795966"/>
          </a:xfrm>
          <a:prstGeom prst="rect">
            <a:avLst/>
          </a:prstGeom>
          <a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99A44C7-C34C-474E-9DD4-E42392065E11}"/>
              </a:ext>
            </a:extLst>
          </p:cNvPr>
          <p:cNvGrpSpPr/>
          <p:nvPr/>
        </p:nvGrpSpPr>
        <p:grpSpPr>
          <a:xfrm>
            <a:off x="7762433" y="315052"/>
            <a:ext cx="3234840" cy="1372356"/>
            <a:chOff x="7414293" y="2172406"/>
            <a:chExt cx="3234840" cy="1372356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F4C8D49-D3E3-47D1-A3BD-6E1323512622}"/>
                </a:ext>
              </a:extLst>
            </p:cNvPr>
            <p:cNvSpPr/>
            <p:nvPr/>
          </p:nvSpPr>
          <p:spPr>
            <a:xfrm>
              <a:off x="7414293" y="2172406"/>
              <a:ext cx="3234840" cy="1372356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E735F075-9353-4F9E-9CA2-1A109DECBC10}"/>
                </a:ext>
              </a:extLst>
            </p:cNvPr>
            <p:cNvSpPr txBox="1"/>
            <p:nvPr/>
          </p:nvSpPr>
          <p:spPr>
            <a:xfrm>
              <a:off x="7414293" y="2172406"/>
              <a:ext cx="3234840" cy="137235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marL="0" lvl="0" indent="0" algn="l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400" kern="1200" dirty="0">
                  <a:solidFill>
                    <a:schemeClr val="bg1"/>
                  </a:solidFill>
                </a:rPr>
                <a:t>Our Apprenticeship Event - </a:t>
              </a:r>
              <a:r>
                <a:rPr lang="en-GB" sz="2400" kern="1200" dirty="0" err="1">
                  <a:solidFill>
                    <a:schemeClr val="bg1"/>
                  </a:solidFill>
                </a:rPr>
                <a:t>Energus</a:t>
              </a:r>
              <a:r>
                <a:rPr lang="en-GB" sz="2400" kern="1200" dirty="0">
                  <a:solidFill>
                    <a:schemeClr val="bg1"/>
                  </a:solidFill>
                </a:rPr>
                <a:t>: </a:t>
              </a:r>
            </a:p>
            <a:p>
              <a:pPr marL="0" lvl="0" indent="0" algn="l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400" dirty="0">
                  <a:solidFill>
                    <a:schemeClr val="bg1"/>
                  </a:solidFill>
                </a:rPr>
                <a:t>11</a:t>
              </a:r>
              <a:r>
                <a:rPr lang="en-GB" sz="2400" kern="1200" baseline="30000" dirty="0">
                  <a:solidFill>
                    <a:schemeClr val="bg1"/>
                  </a:solidFill>
                </a:rPr>
                <a:t>th</a:t>
              </a:r>
              <a:r>
                <a:rPr lang="en-GB" sz="2400" kern="1200" dirty="0">
                  <a:solidFill>
                    <a:schemeClr val="bg1"/>
                  </a:solidFill>
                </a:rPr>
                <a:t> November 2023</a:t>
              </a:r>
              <a:endParaRPr lang="en-US" sz="2400" kern="1200" dirty="0">
                <a:solidFill>
                  <a:schemeClr val="bg1"/>
                </a:solidFill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066B840F-0170-42F2-AB3C-1EA26F87859F}"/>
              </a:ext>
            </a:extLst>
          </p:cNvPr>
          <p:cNvSpPr txBox="1"/>
          <p:nvPr/>
        </p:nvSpPr>
        <p:spPr>
          <a:xfrm>
            <a:off x="5919536" y="180368"/>
            <a:ext cx="5589701" cy="369332"/>
          </a:xfrm>
          <a:prstGeom prst="rect">
            <a:avLst/>
          </a:prstGeom>
          <a:noFill/>
          <a:ln w="38100">
            <a:solidFill>
              <a:srgbClr val="00303C"/>
            </a:solidFill>
          </a:ln>
        </p:spPr>
        <p:txBody>
          <a:bodyPr wrap="square" rtlCol="0">
            <a:spAutoFit/>
          </a:bodyPr>
          <a:lstStyle/>
          <a:p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22577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4F0F87-B5BA-4D80-A491-1C77E85EDB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2275" y="2421000"/>
            <a:ext cx="4407450" cy="1008000"/>
          </a:xfrm>
        </p:spPr>
        <p:txBody>
          <a:bodyPr>
            <a:noAutofit/>
          </a:bodyPr>
          <a:lstStyle/>
          <a:p>
            <a:r>
              <a:rPr lang="en-GB" sz="4000" dirty="0"/>
              <a:t>Any Quest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B5AD72-BA40-4ACC-A9AC-CEA69F94B8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560F855-427A-4679-A329-DA83A0C739EA}" type="slidenum">
              <a:rPr lang="en-GB" smtClean="0"/>
              <a:pPr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18483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2F8D3B-FF55-4B14-A611-B2822A37D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ellafield Ltd by Numbers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BA0BFC2-23BA-4100-B901-BE89A68108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560F855-427A-4679-A329-DA83A0C739EA}" type="slidenum">
              <a:rPr lang="en-GB" smtClean="0"/>
              <a:pPr/>
              <a:t>2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8D7C174-6735-46AF-8BF3-4043B72B17F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816" t="423" r="1" b="1"/>
          <a:stretch/>
        </p:blipFill>
        <p:spPr>
          <a:xfrm>
            <a:off x="6015789" y="5542070"/>
            <a:ext cx="6020211" cy="112800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ED19466-82EA-4CF7-A1ED-DAAA0AC90D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96000" y="2763129"/>
            <a:ext cx="3240000" cy="268215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F023519-9E8B-49D6-92C8-67437948274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09521" y="4399912"/>
            <a:ext cx="2483294" cy="104537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610A840-5042-4C62-A3C4-189D76DAB99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67537" y="1112222"/>
            <a:ext cx="1125278" cy="155192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5CD1647-4B08-4B9D-BE6A-12E3F1E0D87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94243" y="2757627"/>
            <a:ext cx="1898572" cy="155192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DBDF11D-4CE2-4D62-9EFE-19EAA98CDE8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796000" y="139180"/>
            <a:ext cx="3240000" cy="2524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12117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0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85AE01-C0E5-4191-B1BF-C2DEF37DF3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337991"/>
            <a:ext cx="11520000" cy="1008000"/>
          </a:xfrm>
        </p:spPr>
        <p:txBody>
          <a:bodyPr anchor="t">
            <a:norm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Level 2 - 4 Apprenticeship Schem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26F593-1A0E-41CC-9108-639CE10DF4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9987" y="6310076"/>
            <a:ext cx="504000" cy="360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C560F855-427A-4679-A329-DA83A0C739EA}" type="slidenum">
              <a:rPr lang="en-GB" smtClean="0"/>
              <a:pPr>
                <a:spcAft>
                  <a:spcPts val="600"/>
                </a:spcAft>
              </a:pPr>
              <a:t>3</a:t>
            </a:fld>
            <a:endParaRPr lang="en-GB"/>
          </a:p>
        </p:txBody>
      </p:sp>
      <p:graphicFrame>
        <p:nvGraphicFramePr>
          <p:cNvPr id="11" name="Content Placeholder 2">
            <a:extLst>
              <a:ext uri="{FF2B5EF4-FFF2-40B4-BE49-F238E27FC236}">
                <a16:creationId xmlns:a16="http://schemas.microsoft.com/office/drawing/2014/main" id="{25D2BEF4-5E8C-780F-F117-A1499271F8A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74282606"/>
              </p:ext>
            </p:extLst>
          </p:nvPr>
        </p:nvGraphicFramePr>
        <p:xfrm>
          <a:off x="-154004" y="607160"/>
          <a:ext cx="8114097" cy="333919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2" name="Content Placeholder 2">
            <a:extLst>
              <a:ext uri="{FF2B5EF4-FFF2-40B4-BE49-F238E27FC236}">
                <a16:creationId xmlns:a16="http://schemas.microsoft.com/office/drawing/2014/main" id="{3519D6F6-F7EF-4D66-9209-1D42A72CAD5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98643521"/>
              </p:ext>
            </p:extLst>
          </p:nvPr>
        </p:nvGraphicFramePr>
        <p:xfrm>
          <a:off x="577517" y="3676850"/>
          <a:ext cx="6660682" cy="24448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pic>
        <p:nvPicPr>
          <p:cNvPr id="13" name="Picture 12" descr="A group of people posing for the camera&#10;&#10;Description automatically generated">
            <a:extLst>
              <a:ext uri="{FF2B5EF4-FFF2-40B4-BE49-F238E27FC236}">
                <a16:creationId xmlns:a16="http://schemas.microsoft.com/office/drawing/2014/main" id="{35692879-0828-42EB-91A8-586F77F365B1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31" r="1" b="12361"/>
          <a:stretch/>
        </p:blipFill>
        <p:spPr>
          <a:xfrm>
            <a:off x="7940842" y="-67377"/>
            <a:ext cx="4289659" cy="6925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0383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85AE01-C0E5-4191-B1BF-C2DEF37DF3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evel 2 - 4 Apprenticeships – Entry Requiremen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26F593-1A0E-41CC-9108-639CE10DF4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560F855-427A-4679-A329-DA83A0C739EA}" type="slidenum">
              <a:rPr lang="en-GB" smtClean="0"/>
              <a:pPr/>
              <a:t>4</a:t>
            </a:fld>
            <a:endParaRPr lang="en-GB"/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5932F093-B682-4097-A779-94BFB1B54A7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95725961"/>
              </p:ext>
            </p:extLst>
          </p:nvPr>
        </p:nvGraphicFramePr>
        <p:xfrm>
          <a:off x="768951" y="1084134"/>
          <a:ext cx="10654097" cy="46897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1195051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 hidden="1">
            <a:extLst>
              <a:ext uri="{FF2B5EF4-FFF2-40B4-BE49-F238E27FC236}">
                <a16:creationId xmlns:a16="http://schemas.microsoft.com/office/drawing/2014/main" id="{1526F593-1A0E-41CC-9108-639CE10DF46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89987" y="6310076"/>
            <a:ext cx="504000" cy="360000"/>
          </a:xfrm>
          <a:prstGeom prst="rect">
            <a:avLst/>
          </a:prstGeom>
        </p:spPr>
        <p:txBody>
          <a:bodyPr/>
          <a:lstStyle/>
          <a:p>
            <a:pPr>
              <a:spcAft>
                <a:spcPts val="600"/>
              </a:spcAft>
            </a:pPr>
            <a:fld id="{C560F855-427A-4679-A329-DA83A0C739EA}" type="slidenum">
              <a:rPr lang="en-GB" smtClean="0"/>
              <a:pPr>
                <a:spcAft>
                  <a:spcPts val="600"/>
                </a:spcAft>
              </a:pPr>
              <a:t>5</a:t>
            </a:fld>
            <a:endParaRPr lang="en-GB"/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3F3AB367-5B07-2368-6504-328E9870AFD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02921081"/>
              </p:ext>
            </p:extLst>
          </p:nvPr>
        </p:nvGraphicFramePr>
        <p:xfrm>
          <a:off x="971204" y="1241659"/>
          <a:ext cx="10515600" cy="46021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7077EDE2-996D-4710-90F1-ACFD654F5BC6}"/>
              </a:ext>
            </a:extLst>
          </p:cNvPr>
          <p:cNvSpPr txBox="1">
            <a:spLocks/>
          </p:cNvSpPr>
          <p:nvPr/>
        </p:nvSpPr>
        <p:spPr>
          <a:xfrm>
            <a:off x="336000" y="337992"/>
            <a:ext cx="11520000" cy="1008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Level 5 - 6 Apprenticeship Schemes</a:t>
            </a:r>
          </a:p>
        </p:txBody>
      </p:sp>
    </p:spTree>
    <p:extLst>
      <p:ext uri="{BB962C8B-B14F-4D97-AF65-F5344CB8AC3E}">
        <p14:creationId xmlns:p14="http://schemas.microsoft.com/office/powerpoint/2010/main" val="771378551"/>
      </p:ext>
    </p:extLst>
  </p:cSld>
  <p:clrMapOvr>
    <a:masterClrMapping/>
  </p:clrMapOvr>
  <p:transition spd="slow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1804BC-4FBD-45C6-BFE8-197F497856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337991"/>
            <a:ext cx="11520000" cy="1008000"/>
          </a:xfrm>
        </p:spPr>
        <p:txBody>
          <a:bodyPr anchor="t">
            <a:normAutofit/>
          </a:bodyPr>
          <a:lstStyle/>
          <a:p>
            <a:r>
              <a:rPr lang="en-GB" dirty="0"/>
              <a:t>Structure of a Degree Apprenticeship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F6CE47-E035-4EAE-BA23-76FBE2AD01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9987" y="6310076"/>
            <a:ext cx="504000" cy="360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C560F855-427A-4679-A329-DA83A0C739EA}" type="slidenum">
              <a:rPr lang="en-GB" smtClean="0"/>
              <a:pPr>
                <a:spcAft>
                  <a:spcPts val="600"/>
                </a:spcAft>
              </a:pPr>
              <a:t>6</a:t>
            </a:fld>
            <a:endParaRPr lang="en-GB"/>
          </a:p>
        </p:txBody>
      </p:sp>
      <p:graphicFrame>
        <p:nvGraphicFramePr>
          <p:cNvPr id="6" name="Content Placeholder 2">
            <a:extLst>
              <a:ext uri="{FF2B5EF4-FFF2-40B4-BE49-F238E27FC236}">
                <a16:creationId xmlns:a16="http://schemas.microsoft.com/office/drawing/2014/main" id="{C2C532C4-B1AC-C354-0C25-42BE88B0E1E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18840312"/>
              </p:ext>
            </p:extLst>
          </p:nvPr>
        </p:nvGraphicFramePr>
        <p:xfrm>
          <a:off x="336000" y="1422340"/>
          <a:ext cx="11520000" cy="432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181832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778CCE-C654-4569-B936-271DA6C40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1204" y="805701"/>
            <a:ext cx="10515600" cy="848533"/>
          </a:xfrm>
        </p:spPr>
        <p:txBody>
          <a:bodyPr anchor="t">
            <a:normAutofit/>
          </a:bodyPr>
          <a:lstStyle/>
          <a:p>
            <a:r>
              <a:rPr lang="en-GB" dirty="0"/>
              <a:t>Entry Requirements – L5 – L6</a:t>
            </a:r>
          </a:p>
        </p:txBody>
      </p:sp>
      <p:sp>
        <p:nvSpPr>
          <p:cNvPr id="4" name="Slide Number Placeholder 3" hidden="1">
            <a:extLst>
              <a:ext uri="{FF2B5EF4-FFF2-40B4-BE49-F238E27FC236}">
                <a16:creationId xmlns:a16="http://schemas.microsoft.com/office/drawing/2014/main" id="{CD9E38F3-A68C-422B-87F2-363ADCEEDE1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89987" y="6310076"/>
            <a:ext cx="504000" cy="360000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C560F855-427A-4679-A329-DA83A0C739EA}" type="slidenum">
              <a:rPr lang="en-GB" smtClean="0"/>
              <a:pPr>
                <a:lnSpc>
                  <a:spcPct val="90000"/>
                </a:lnSpc>
                <a:spcAft>
                  <a:spcPts val="600"/>
                </a:spcAft>
              </a:pPr>
              <a:t>7</a:t>
            </a:fld>
            <a:endParaRPr lang="en-GB"/>
          </a:p>
        </p:txBody>
      </p:sp>
      <p:graphicFrame>
        <p:nvGraphicFramePr>
          <p:cNvPr id="10" name="Content Placeholder 7">
            <a:extLst>
              <a:ext uri="{FF2B5EF4-FFF2-40B4-BE49-F238E27FC236}">
                <a16:creationId xmlns:a16="http://schemas.microsoft.com/office/drawing/2014/main" id="{69B15AB6-86E1-D6DD-615C-93B4ED467E1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10422007"/>
              </p:ext>
            </p:extLst>
          </p:nvPr>
        </p:nvGraphicFramePr>
        <p:xfrm>
          <a:off x="971204" y="1755505"/>
          <a:ext cx="10515600" cy="39343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637144185"/>
      </p:ext>
    </p:extLst>
  </p:cSld>
  <p:clrMapOvr>
    <a:masterClrMapping/>
  </p:clrMapOvr>
  <p:transition spd="slow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9BD0D0-8238-4B24-B5FD-15CF0E8A0E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60F855-427A-4679-A329-DA83A0C739EA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303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303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1A6FC59-EE6F-4A2D-9EB0-F645938467B9}"/>
              </a:ext>
            </a:extLst>
          </p:cNvPr>
          <p:cNvSpPr txBox="1">
            <a:spLocks/>
          </p:cNvSpPr>
          <p:nvPr/>
        </p:nvSpPr>
        <p:spPr>
          <a:xfrm>
            <a:off x="427701" y="33128"/>
            <a:ext cx="10089091" cy="97434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kern="1200">
                <a:solidFill>
                  <a:srgbClr val="00529B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ea typeface="+mj-ea"/>
                <a:cs typeface="Arial" panose="020B0604020202020204" pitchFamily="34" charset="0"/>
              </a:rPr>
              <a:t>Why Choose Sellafield Ltd.?</a:t>
            </a:r>
          </a:p>
        </p:txBody>
      </p:sp>
      <p:sp>
        <p:nvSpPr>
          <p:cNvPr id="12" name="Rectangle 11" descr="Office Worker">
            <a:extLst>
              <a:ext uri="{FF2B5EF4-FFF2-40B4-BE49-F238E27FC236}">
                <a16:creationId xmlns:a16="http://schemas.microsoft.com/office/drawing/2014/main" id="{BC4DC5BF-2F44-488E-B1AE-68DBF82DA8B7}"/>
              </a:ext>
            </a:extLst>
          </p:cNvPr>
          <p:cNvSpPr/>
          <p:nvPr/>
        </p:nvSpPr>
        <p:spPr>
          <a:xfrm>
            <a:off x="9253574" y="1124252"/>
            <a:ext cx="1223645" cy="1223645"/>
          </a:xfrm>
          <a:prstGeom prst="rect">
            <a:avLst/>
          </a:prstGeo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  <a:ln>
            <a:solidFill>
              <a:schemeClr val="accent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sp>
        <p:nvSpPr>
          <p:cNvPr id="13" name="Rectangle 12" descr="Connections">
            <a:extLst>
              <a:ext uri="{FF2B5EF4-FFF2-40B4-BE49-F238E27FC236}">
                <a16:creationId xmlns:a16="http://schemas.microsoft.com/office/drawing/2014/main" id="{A55BE555-3B0B-4B60-8BAA-8674BBF8035A}"/>
              </a:ext>
            </a:extLst>
          </p:cNvPr>
          <p:cNvSpPr/>
          <p:nvPr/>
        </p:nvSpPr>
        <p:spPr>
          <a:xfrm>
            <a:off x="1691629" y="3660921"/>
            <a:ext cx="1223645" cy="1223645"/>
          </a:xfrm>
          <a:prstGeom prst="rect">
            <a:avLst/>
          </a:prstGeo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  <a:ln>
            <a:solidFill>
              <a:schemeClr val="accent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5F15BC7-F1C0-4649-93B0-66B44F283B8D}"/>
              </a:ext>
            </a:extLst>
          </p:cNvPr>
          <p:cNvSpPr txBox="1"/>
          <p:nvPr/>
        </p:nvSpPr>
        <p:spPr>
          <a:xfrm>
            <a:off x="5089546" y="2455332"/>
            <a:ext cx="2142000" cy="1089189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t">
            <a:normAutofit lnSpcReduction="10000"/>
          </a:bodyPr>
          <a:lstStyle>
            <a:lvl1pPr indent="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>
                <a:solidFill>
                  <a:srgbClr val="FFFFFF"/>
                </a:solidFill>
              </a:defRPr>
            </a:lvl1pPr>
            <a:lvl2pPr marL="742950" indent="-28575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25146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29718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34290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38862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303C"/>
              </a:buClr>
              <a:buSzPct val="80000"/>
              <a:buFont typeface="Wingdings 3" charset="2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Pension Scheme</a:t>
            </a:r>
            <a:b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</a:b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An attractive defined contribution pension scheme – up to 13.5% Employer Contribution.</a:t>
            </a:r>
          </a:p>
          <a:p>
            <a:pPr marL="285750" marR="0" lvl="0" indent="-28575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303C"/>
              </a:buClr>
              <a:buSzPct val="80000"/>
              <a:buFont typeface="Wingdings" panose="05000000000000000000" pitchFamily="2" charset="2"/>
              <a:buChar char="Ø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195BFE3-B50C-4C68-944F-8C0E3961E2BB}"/>
              </a:ext>
            </a:extLst>
          </p:cNvPr>
          <p:cNvSpPr txBox="1"/>
          <p:nvPr/>
        </p:nvSpPr>
        <p:spPr>
          <a:xfrm>
            <a:off x="8794396" y="2427210"/>
            <a:ext cx="2142000" cy="1089189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t">
            <a:normAutofit fontScale="92500" lnSpcReduction="20000"/>
          </a:bodyPr>
          <a:lstStyle>
            <a:defPPr>
              <a:defRPr lang="en-US"/>
            </a:defPPr>
            <a:lvl1pPr indent="0" algn="ctr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b="1">
                <a:solidFill>
                  <a:schemeClr val="bg1"/>
                </a:solidFill>
              </a:defRPr>
            </a:lvl1pPr>
            <a:lvl2pPr marL="742950" indent="-28575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25146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29718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34290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38862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303C"/>
              </a:buClr>
              <a:buSzPct val="80000"/>
              <a:buFont typeface="Wingdings 3" charset="2"/>
              <a:buNone/>
              <a:tabLst/>
              <a:defRPr/>
            </a:pPr>
            <a:r>
              <a:rPr kumimoji="0" lang="en-GB" sz="1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Lifestyle Benefits</a:t>
            </a:r>
            <a:b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SASRA exists to provide sporting, social and recreational facilities and opportunities for its members.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C38D07D-DA3B-48DF-BC4D-658FD5903338}"/>
              </a:ext>
            </a:extLst>
          </p:cNvPr>
          <p:cNvSpPr txBox="1"/>
          <p:nvPr/>
        </p:nvSpPr>
        <p:spPr>
          <a:xfrm>
            <a:off x="1232451" y="4956005"/>
            <a:ext cx="2142000" cy="1089189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t">
            <a:normAutofit/>
          </a:bodyPr>
          <a:lstStyle>
            <a:defPPr>
              <a:defRPr lang="en-US"/>
            </a:defPPr>
            <a:lvl1pPr indent="0" algn="ctr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b="1">
                <a:solidFill>
                  <a:schemeClr val="bg1"/>
                </a:solidFill>
              </a:defRPr>
            </a:lvl1pPr>
            <a:lvl2pPr marL="742950" indent="-28575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25146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29718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34290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38862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303C"/>
              </a:buClr>
              <a:buSzPct val="80000"/>
              <a:buFont typeface="Wingdings 3" charset="2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Annual Health Check</a:t>
            </a:r>
            <a:b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</a:b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Free Aviva Health App &amp; Annual Health Check</a:t>
            </a:r>
            <a:endParaRPr kumimoji="0" lang="en-GB" sz="17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000FC96-31C7-4204-A57B-70505EB8B858}"/>
              </a:ext>
            </a:extLst>
          </p:cNvPr>
          <p:cNvSpPr txBox="1"/>
          <p:nvPr/>
        </p:nvSpPr>
        <p:spPr>
          <a:xfrm>
            <a:off x="5068310" y="4956005"/>
            <a:ext cx="2142000" cy="1089189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t">
            <a:normAutofit lnSpcReduction="10000"/>
          </a:bodyPr>
          <a:lstStyle>
            <a:defPPr>
              <a:defRPr lang="en-US"/>
            </a:defPPr>
            <a:lvl1pPr indent="0" algn="ctr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b="1">
                <a:solidFill>
                  <a:schemeClr val="bg1"/>
                </a:solidFill>
              </a:defRPr>
            </a:lvl1pPr>
            <a:lvl2pPr marL="742950" indent="-28575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25146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29718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34290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38862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303C"/>
              </a:buClr>
              <a:buSzPct val="80000"/>
              <a:buFont typeface="Wingdings 3" charset="2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Annual Bonus Scheme</a:t>
            </a:r>
            <a:b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</a:b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Benefit from a bonus of up to £4,000*, </a:t>
            </a:r>
            <a:r>
              <a:rPr kumimoji="0" lang="en-GB" sz="13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based on Company Performance.</a:t>
            </a:r>
            <a:endParaRPr kumimoji="0" lang="en-GB" sz="16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DBB1360-88AE-4130-8350-7BD35195D76C}"/>
              </a:ext>
            </a:extLst>
          </p:cNvPr>
          <p:cNvSpPr txBox="1"/>
          <p:nvPr/>
        </p:nvSpPr>
        <p:spPr>
          <a:xfrm>
            <a:off x="8794395" y="4925960"/>
            <a:ext cx="2293907" cy="1128859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t">
            <a:normAutofit fontScale="92500" lnSpcReduction="20000"/>
          </a:bodyPr>
          <a:lstStyle>
            <a:defPPr>
              <a:defRPr lang="en-US"/>
            </a:defPPr>
            <a:lvl1pPr indent="0" algn="ctr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700" b="1">
                <a:solidFill>
                  <a:schemeClr val="bg1"/>
                </a:solidFill>
              </a:defRPr>
            </a:lvl1pPr>
            <a:lvl2pPr marL="742950" indent="-28575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25146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29718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34290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38862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303C"/>
              </a:buClr>
              <a:buSzPct val="80000"/>
              <a:buFont typeface="Wingdings 3" charset="2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Holiday Allowance</a:t>
            </a:r>
            <a:b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25.5 days annual leave, plus 8 bank holidays – there is also the option to purchase an additional 3 days, and carry-over 5!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57EDC99-B5EA-45BC-9409-61E1E82EA1D3}"/>
              </a:ext>
            </a:extLst>
          </p:cNvPr>
          <p:cNvSpPr txBox="1"/>
          <p:nvPr/>
        </p:nvSpPr>
        <p:spPr>
          <a:xfrm>
            <a:off x="1231192" y="2495474"/>
            <a:ext cx="2142000" cy="1089189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t">
            <a:normAutofit fontScale="92500" lnSpcReduction="20000"/>
          </a:bodyPr>
          <a:lstStyle>
            <a:defPPr>
              <a:defRPr lang="en-US"/>
            </a:defPPr>
            <a:lvl1pPr indent="0" algn="ctr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b="1">
                <a:solidFill>
                  <a:schemeClr val="bg1"/>
                </a:solidFill>
              </a:defRPr>
            </a:lvl1pPr>
            <a:lvl2pPr marL="742950" indent="-28575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25146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29718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34290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38862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303C"/>
              </a:buClr>
              <a:buSzPct val="80000"/>
              <a:buFont typeface="Wingdings 3" charset="2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Salary</a:t>
            </a:r>
            <a:b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We offer a competitive salary, with </a:t>
            </a:r>
            <a:r>
              <a:rPr lang="en-GB" sz="1400" b="0" dirty="0">
                <a:solidFill>
                  <a:srgbClr val="FFFFFF"/>
                </a:solidFill>
                <a:latin typeface="Georgia" panose="02040502050405020303" pitchFamily="18" charset="0"/>
              </a:rPr>
              <a:t>a pay increment each year</a:t>
            </a:r>
            <a:r>
              <a:rPr lang="en-GB" sz="1400" dirty="0">
                <a:solidFill>
                  <a:srgbClr val="FFFFFF"/>
                </a:solidFill>
                <a:latin typeface="Georgia" panose="02040502050405020303" pitchFamily="18" charset="0"/>
              </a:rPr>
              <a:t>.</a:t>
            </a:r>
            <a:br>
              <a:rPr lang="en-GB" sz="1400" dirty="0">
                <a:solidFill>
                  <a:srgbClr val="FFFFFF"/>
                </a:solidFill>
                <a:latin typeface="Georgia" panose="02040502050405020303" pitchFamily="18" charset="0"/>
              </a:rPr>
            </a:br>
            <a:r>
              <a:rPr lang="en-GB" sz="1400" dirty="0">
                <a:solidFill>
                  <a:srgbClr val="FFFFFF"/>
                </a:solidFill>
                <a:latin typeface="Georgia" panose="02040502050405020303" pitchFamily="18" charset="0"/>
              </a:rPr>
              <a:t>Exact salaries can be found on our website!</a:t>
            </a:r>
            <a:endParaRPr lang="en-GB" sz="1400" b="0" dirty="0">
              <a:solidFill>
                <a:srgbClr val="FFFFFF"/>
              </a:solidFill>
              <a:latin typeface="Georgia" panose="02040502050405020303" pitchFamily="18" charset="0"/>
            </a:endParaRPr>
          </a:p>
        </p:txBody>
      </p:sp>
      <p:pic>
        <p:nvPicPr>
          <p:cNvPr id="20" name="Graphic 19" descr="Piggy Bank with solid fill">
            <a:extLst>
              <a:ext uri="{FF2B5EF4-FFF2-40B4-BE49-F238E27FC236}">
                <a16:creationId xmlns:a16="http://schemas.microsoft.com/office/drawing/2014/main" id="{1ECCF870-FEC8-4ECD-A78C-D1BEB50E897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2110" y="1318415"/>
            <a:ext cx="914400" cy="914400"/>
          </a:xfrm>
          <a:prstGeom prst="rect">
            <a:avLst/>
          </a:prstGeom>
        </p:spPr>
      </p:pic>
      <p:pic>
        <p:nvPicPr>
          <p:cNvPr id="21" name="Graphic 20" descr="Take Off with solid fill">
            <a:extLst>
              <a:ext uri="{FF2B5EF4-FFF2-40B4-BE49-F238E27FC236}">
                <a16:creationId xmlns:a16="http://schemas.microsoft.com/office/drawing/2014/main" id="{374D1E8B-7462-4D7A-BCF2-9191307D7D2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408196" y="3815543"/>
            <a:ext cx="914400" cy="914400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4026565A-8D74-4DFA-B3A1-61EDC51A332F}"/>
              </a:ext>
            </a:extLst>
          </p:cNvPr>
          <p:cNvSpPr/>
          <p:nvPr/>
        </p:nvSpPr>
        <p:spPr>
          <a:xfrm>
            <a:off x="1691629" y="1163615"/>
            <a:ext cx="1224000" cy="122400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D5DED94-7E2D-4F90-9828-92A25615D71F}"/>
              </a:ext>
            </a:extLst>
          </p:cNvPr>
          <p:cNvSpPr/>
          <p:nvPr/>
        </p:nvSpPr>
        <p:spPr>
          <a:xfrm>
            <a:off x="9253574" y="3626735"/>
            <a:ext cx="1224000" cy="122400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pic>
        <p:nvPicPr>
          <p:cNvPr id="24" name="Graphic 23" descr="Present outline">
            <a:extLst>
              <a:ext uri="{FF2B5EF4-FFF2-40B4-BE49-F238E27FC236}">
                <a16:creationId xmlns:a16="http://schemas.microsoft.com/office/drawing/2014/main" id="{CD157069-B8D7-4FC3-89E7-1947A000A04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627047" y="3841207"/>
            <a:ext cx="914400" cy="914400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B3A82F32-79C7-4555-87CE-672684AF8A4D}"/>
              </a:ext>
            </a:extLst>
          </p:cNvPr>
          <p:cNvSpPr/>
          <p:nvPr/>
        </p:nvSpPr>
        <p:spPr>
          <a:xfrm>
            <a:off x="5472247" y="3708423"/>
            <a:ext cx="1224000" cy="122400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pic>
        <p:nvPicPr>
          <p:cNvPr id="26" name="Graphic 25" descr="Pound with solid fill">
            <a:extLst>
              <a:ext uri="{FF2B5EF4-FFF2-40B4-BE49-F238E27FC236}">
                <a16:creationId xmlns:a16="http://schemas.microsoft.com/office/drawing/2014/main" id="{6867BAB6-897E-4C3D-B4B8-689ECEE89B8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844992" y="1306796"/>
            <a:ext cx="914400" cy="9144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58DE59D8-2AA9-4C01-B12A-986BA570C0DE}"/>
              </a:ext>
            </a:extLst>
          </p:cNvPr>
          <p:cNvSpPr/>
          <p:nvPr/>
        </p:nvSpPr>
        <p:spPr>
          <a:xfrm>
            <a:off x="5527310" y="1151996"/>
            <a:ext cx="1224000" cy="122400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94237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0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9B1994-40D1-4795-B494-9508BE3CE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337992"/>
            <a:ext cx="11520000" cy="1008000"/>
          </a:xfrm>
        </p:spPr>
        <p:txBody>
          <a:bodyPr anchor="t">
            <a:norm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Sellafield Ltd. Application Proces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06A794-DA43-4675-B3BB-202DFF7FF5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9987" y="6310076"/>
            <a:ext cx="504000" cy="360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C560F855-427A-4679-A329-DA83A0C739EA}" type="slidenum">
              <a:rPr lang="en-GB" smtClean="0"/>
              <a:pPr>
                <a:spcAft>
                  <a:spcPts val="600"/>
                </a:spcAft>
              </a:pPr>
              <a:t>9</a:t>
            </a:fld>
            <a:endParaRPr lang="en-GB"/>
          </a:p>
        </p:txBody>
      </p:sp>
      <p:graphicFrame>
        <p:nvGraphicFramePr>
          <p:cNvPr id="6" name="Content Placeholder 2">
            <a:extLst>
              <a:ext uri="{FF2B5EF4-FFF2-40B4-BE49-F238E27FC236}">
                <a16:creationId xmlns:a16="http://schemas.microsoft.com/office/drawing/2014/main" id="{4E4D7A93-7153-361E-FE1C-36AC2B6C9AE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7366627"/>
              </p:ext>
            </p:extLst>
          </p:nvPr>
        </p:nvGraphicFramePr>
        <p:xfrm>
          <a:off x="336000" y="1422340"/>
          <a:ext cx="11520000" cy="432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9094803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de.yTna8F7CYix8Rkr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de.yTna8F7CYix8Rkr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tynxwLMif4WWhDMIt4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fpZcGFcEINE3TvvMltm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tynxwLMif4WWhDMIt4n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de.yTna8F7CYix8RkrJ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de.yTna8F7CYix8RkrJ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tynxwLMif4WWhDMIt4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fpZcGFcEINE3TvvMltm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mzePZ0BixD.dRWqtuH3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GBS SELLAFIELD">
  <a:themeElements>
    <a:clrScheme name="Sellafield">
      <a:dk1>
        <a:srgbClr val="000000"/>
      </a:dk1>
      <a:lt1>
        <a:srgbClr val="FFFFFF"/>
      </a:lt1>
      <a:dk2>
        <a:srgbClr val="00303C"/>
      </a:dk2>
      <a:lt2>
        <a:srgbClr val="9D968D"/>
      </a:lt2>
      <a:accent1>
        <a:srgbClr val="00303C"/>
      </a:accent1>
      <a:accent2>
        <a:srgbClr val="D2F5FE"/>
      </a:accent2>
      <a:accent3>
        <a:srgbClr val="8EE8FF"/>
      </a:accent3>
      <a:accent4>
        <a:srgbClr val="1DD1FF"/>
      </a:accent4>
      <a:accent5>
        <a:srgbClr val="0089AC"/>
      </a:accent5>
      <a:accent6>
        <a:srgbClr val="005469"/>
      </a:accent6>
      <a:hlink>
        <a:srgbClr val="971B2F"/>
      </a:hlink>
      <a:folHlink>
        <a:srgbClr val="5C068C"/>
      </a:folHlink>
    </a:clrScheme>
    <a:fontScheme name="Sellafield">
      <a:majorFont>
        <a:latin typeface="Georgia"/>
        <a:ea typeface=""/>
        <a:cs typeface=""/>
      </a:majorFont>
      <a:minorFont>
        <a:latin typeface="Georgia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BS Webinar MARCH 2020 V4 FINAL.potx" id="{54FA8E51-0533-4605-A2EE-A1751FBF4345}" vid="{9F567C19-3C69-4F74-A3E8-577694B712F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56B55569C6D6945B9EE095E6D1CF30F" ma:contentTypeVersion="11" ma:contentTypeDescription="Create a new document." ma:contentTypeScope="" ma:versionID="850b9c982f1e4d4f082c7c31c19e918e">
  <xsd:schema xmlns:xsd="http://www.w3.org/2001/XMLSchema" xmlns:xs="http://www.w3.org/2001/XMLSchema" xmlns:p="http://schemas.microsoft.com/office/2006/metadata/properties" xmlns:ns2="7c6e1f80-242b-4912-96b4-fb6229de13cf" xmlns:ns3="3314429e-5069-45ce-b2c6-71df70395955" targetNamespace="http://schemas.microsoft.com/office/2006/metadata/properties" ma:root="true" ma:fieldsID="a630f78a599cc64d2707870f9165f519" ns2:_="" ns3:_="">
    <xsd:import namespace="7c6e1f80-242b-4912-96b4-fb6229de13cf"/>
    <xsd:import namespace="3314429e-5069-45ce-b2c6-71df7039595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c6e1f80-242b-4912-96b4-fb6229de13c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314429e-5069-45ce-b2c6-71df70395955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sisl xmlns:xsi="http://www.w3.org/2001/XMLSchema-instance" xmlns:xsd="http://www.w3.org/2001/XMLSchema" xmlns="http://www.boldonjames.com/2008/01/sie/internal/label" sislVersion="0" policy="fd403455-cda7-4c1b-b87f-02f0c0503f88" origin="userSelected">
  <element uid="id_protective_marking_protect" value=""/>
</sisl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CD2CBCD-A2FC-4E16-9770-AC3C72C6852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c6e1f80-242b-4912-96b4-fb6229de13cf"/>
    <ds:schemaRef ds:uri="3314429e-5069-45ce-b2c6-71df7039595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54CA38E-2D5E-48FD-8C16-3F8C26D0DD0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6904579-1FE3-4D4E-AF2B-F56FBEFDB85C}">
  <ds:schemaRefs>
    <ds:schemaRef ds:uri="http://www.w3.org/2001/XMLSchema"/>
    <ds:schemaRef ds:uri="http://www.boldonjames.com/2008/01/sie/internal/label"/>
  </ds:schemaRefs>
</ds:datastoreItem>
</file>

<file path=customXml/itemProps4.xml><?xml version="1.0" encoding="utf-8"?>
<ds:datastoreItem xmlns:ds="http://schemas.openxmlformats.org/officeDocument/2006/customXml" ds:itemID="{7025AA10-A2F0-410E-A220-D2B62E2F5A1D}">
  <ds:schemaRefs>
    <ds:schemaRef ds:uri="http://purl.org/dc/elements/1.1/"/>
    <ds:schemaRef ds:uri="http://purl.org/dc/terms/"/>
    <ds:schemaRef ds:uri="3314429e-5069-45ce-b2c6-71df70395955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7c6e1f80-242b-4912-96b4-fb6229de13cf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247</TotalTime>
  <Words>883</Words>
  <Application>Microsoft Office PowerPoint</Application>
  <PresentationFormat>Widescreen</PresentationFormat>
  <Paragraphs>113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Arial</vt:lpstr>
      <vt:lpstr>Calibri</vt:lpstr>
      <vt:lpstr>Georgia</vt:lpstr>
      <vt:lpstr>Wingdings</vt:lpstr>
      <vt:lpstr>Wingdings 3</vt:lpstr>
      <vt:lpstr>3_GBS SELLAFIELD</vt:lpstr>
      <vt:lpstr>think-cell Slide</vt:lpstr>
      <vt:lpstr>Apprenticeship Opportunities  Why Choose Sellafield Ltd.?</vt:lpstr>
      <vt:lpstr>Sellafield Ltd by Numbers </vt:lpstr>
      <vt:lpstr>Level 2 - 4 Apprenticeship Schemes</vt:lpstr>
      <vt:lpstr>Level 2 - 4 Apprenticeships – Entry Requirements</vt:lpstr>
      <vt:lpstr>PowerPoint Presentation</vt:lpstr>
      <vt:lpstr>Structure of a Degree Apprenticeship </vt:lpstr>
      <vt:lpstr>Entry Requirements – L5 – L6</vt:lpstr>
      <vt:lpstr>PowerPoint Presentation</vt:lpstr>
      <vt:lpstr>Sellafield Ltd. Application Process </vt:lpstr>
      <vt:lpstr>Application Tips</vt:lpstr>
      <vt:lpstr>Key Dates </vt:lpstr>
      <vt:lpstr>Any Quest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BS Programme Board</dc:title>
  <dc:creator>Theaker, Samuel</dc:creator>
  <cp:lastModifiedBy>Ms N Maddocks</cp:lastModifiedBy>
  <cp:revision>179</cp:revision>
  <cp:lastPrinted>2021-06-24T15:17:38Z</cp:lastPrinted>
  <dcterms:created xsi:type="dcterms:W3CDTF">2020-11-19T20:37:20Z</dcterms:created>
  <dcterms:modified xsi:type="dcterms:W3CDTF">2023-11-06T15:07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56B55569C6D6945B9EE095E6D1CF30F</vt:lpwstr>
  </property>
  <property fmtid="{D5CDD505-2E9C-101B-9397-08002B2CF9AE}" pid="3" name="docIndexRef">
    <vt:lpwstr>660a5d76-2fa5-49e3-b8ca-0e944f4d6d43</vt:lpwstr>
  </property>
  <property fmtid="{D5CDD505-2E9C-101B-9397-08002B2CF9AE}" pid="4" name="bjSaver">
    <vt:lpwstr>Gc2ufurqxsEaUr9zU+ZigmamD0Kn3Zxn</vt:lpwstr>
  </property>
  <property fmtid="{D5CDD505-2E9C-101B-9397-08002B2CF9AE}" pid="5" name="bjDocumentLabelXML">
    <vt:lpwstr>&lt;?xml version="1.0" encoding="us-ascii"?&gt;&lt;sisl xmlns:xsi="http://www.w3.org/2001/XMLSchema-instance" xmlns:xsd="http://www.w3.org/2001/XMLSchema" sislVersion="0" policy="fd403455-cda7-4c1b-b87f-02f0c0503f88" origin="userSelected" xmlns="http://www.boldonj</vt:lpwstr>
  </property>
  <property fmtid="{D5CDD505-2E9C-101B-9397-08002B2CF9AE}" pid="6" name="bjDocumentLabelXML-0">
    <vt:lpwstr>ames.com/2008/01/sie/internal/label"&gt;&lt;element uid="id_protective_marking_protect" value="" /&gt;&lt;/sisl&gt;</vt:lpwstr>
  </property>
  <property fmtid="{D5CDD505-2E9C-101B-9397-08002B2CF9AE}" pid="7" name="bjDocumentSecurityLabel">
    <vt:lpwstr>[OFFICIAL]</vt:lpwstr>
  </property>
  <property fmtid="{D5CDD505-2E9C-101B-9397-08002B2CF9AE}" pid="8" name="bjClsUserRVM">
    <vt:lpwstr>[]</vt:lpwstr>
  </property>
</Properties>
</file>